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700" r:id="rId2"/>
    <p:sldMasterId id="2147483709" r:id="rId3"/>
    <p:sldMasterId id="2147483791" r:id="rId4"/>
    <p:sldMasterId id="2147483881" r:id="rId5"/>
    <p:sldMasterId id="2147483905" r:id="rId6"/>
    <p:sldMasterId id="2147483930" r:id="rId7"/>
    <p:sldMasterId id="2147483966" r:id="rId8"/>
  </p:sldMasterIdLst>
  <p:notesMasterIdLst>
    <p:notesMasterId r:id="rId28"/>
  </p:notesMasterIdLst>
  <p:handoutMasterIdLst>
    <p:handoutMasterId r:id="rId29"/>
  </p:handoutMasterIdLst>
  <p:sldIdLst>
    <p:sldId id="361" r:id="rId9"/>
    <p:sldId id="362" r:id="rId10"/>
    <p:sldId id="385" r:id="rId11"/>
    <p:sldId id="268" r:id="rId12"/>
    <p:sldId id="273" r:id="rId13"/>
    <p:sldId id="258" r:id="rId14"/>
    <p:sldId id="363" r:id="rId15"/>
    <p:sldId id="370" r:id="rId16"/>
    <p:sldId id="374" r:id="rId17"/>
    <p:sldId id="377" r:id="rId18"/>
    <p:sldId id="321" r:id="rId19"/>
    <p:sldId id="378" r:id="rId20"/>
    <p:sldId id="379" r:id="rId21"/>
    <p:sldId id="376" r:id="rId22"/>
    <p:sldId id="380" r:id="rId23"/>
    <p:sldId id="381" r:id="rId24"/>
    <p:sldId id="382" r:id="rId25"/>
    <p:sldId id="326" r:id="rId26"/>
    <p:sldId id="348" r:id="rId27"/>
  </p:sldIdLst>
  <p:sldSz cx="12192000" cy="6858000"/>
  <p:notesSz cx="6858000" cy="9144000"/>
  <p:embeddedFontLst>
    <p:embeddedFont>
      <p:font typeface="맑은 고딕" panose="020B0503020000020004" pitchFamily="34" charset="-127"/>
      <p:regular r:id="rId30"/>
      <p:bold r:id="rId31"/>
    </p:embeddedFont>
    <p:embeddedFont>
      <p:font typeface="Wingdings 2" panose="05020102010507070707" pitchFamily="18" charset="2"/>
      <p:regular r:id="rId32"/>
    </p:embeddedFont>
    <p:embeddedFont>
      <p:font typeface="Tahoma" panose="020B0604030504040204" pitchFamily="34" charset="0"/>
      <p:regular r:id="rId33"/>
      <p:bold r:id="rId34"/>
    </p:embeddedFont>
    <p:embeddedFont>
      <p:font typeface="Arial Narrow" panose="020B0606020202030204" pitchFamily="34" charset="0"/>
      <p:regular r:id="rId35"/>
      <p:bold r:id="rId36"/>
      <p:italic r:id="rId37"/>
      <p:boldItalic r:id="rId38"/>
    </p:embeddedFont>
    <p:embeddedFont>
      <p:font typeface="Century" panose="02040604050505020304" pitchFamily="18" charset="0"/>
      <p:regular r:id="rId39"/>
    </p:embeddedFont>
    <p:embeddedFont>
      <p:font typeface="Century Gothic" panose="020B0502020202020204" pitchFamily="34" charset="0"/>
      <p:regular r:id="rId40"/>
      <p:bold r:id="rId41"/>
      <p:italic r:id="rId42"/>
      <p:boldItalic r:id="rId43"/>
    </p:embeddedFont>
    <p:embeddedFont>
      <p:font typeface="Trebuchet MS" panose="020B0603020202020204" pitchFamily="34" charset="0"/>
      <p:regular r:id="rId44"/>
      <p:bold r:id="rId45"/>
      <p:italic r:id="rId46"/>
      <p:boldItalic r:id="rId47"/>
    </p:embeddedFont>
    <p:embeddedFont>
      <p:font typeface="굴림체" panose="020B0604020202020204" charset="-127"/>
      <p:regular r:id="rId48"/>
    </p:embeddedFont>
    <p:embeddedFont>
      <p:font typeface="Calibri Light" panose="020F0302020204030204" pitchFamily="34" charset="0"/>
      <p:regular r:id="rId49"/>
      <p:italic r:id="rId50"/>
    </p:embeddedFont>
    <p:embeddedFont>
      <p:font typeface="Open Sans" panose="020B0604020202020204" charset="0"/>
      <p:regular r:id="rId51"/>
      <p:bold r:id="rId52"/>
      <p:italic r:id="rId53"/>
      <p:boldItalic r:id="rId54"/>
    </p:embeddedFont>
    <p:embeddedFont>
      <p:font typeface="Verdana" panose="020B0604030504040204" pitchFamily="34" charset="0"/>
      <p:regular r:id="rId55"/>
      <p:bold r:id="rId56"/>
      <p:italic r:id="rId57"/>
      <p:boldItalic r:id="rId58"/>
    </p:embeddedFont>
    <p:embeddedFont>
      <p:font typeface="Calibri" panose="020F0502020204030204" pitchFamily="34" charset="0"/>
      <p:regular r:id="rId59"/>
      <p:bold r:id="rId60"/>
      <p:italic r:id="rId61"/>
      <p:boldItalic r:id="rId62"/>
    </p:embeddedFont>
  </p:embeddedFontLst>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5F21"/>
    <a:srgbClr val="C00000"/>
    <a:srgbClr val="2D2F2D"/>
    <a:srgbClr val="F6882E"/>
    <a:srgbClr val="000000"/>
    <a:srgbClr val="222F64"/>
    <a:srgbClr val="206CE8"/>
    <a:srgbClr val="0033CC"/>
    <a:srgbClr val="0066FF"/>
    <a:srgbClr val="002D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보통 스타일 2 - 강조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31" autoAdjust="0"/>
    <p:restoredTop sz="94761" autoAdjust="0"/>
  </p:normalViewPr>
  <p:slideViewPr>
    <p:cSldViewPr>
      <p:cViewPr varScale="1">
        <p:scale>
          <a:sx n="82" d="100"/>
          <a:sy n="82" d="100"/>
        </p:scale>
        <p:origin x="946" y="67"/>
      </p:cViewPr>
      <p:guideLst>
        <p:guide orient="horz" pos="2160"/>
        <p:guide pos="384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p:cViewPr varScale="1">
        <p:scale>
          <a:sx n="88" d="100"/>
          <a:sy n="88" d="100"/>
        </p:scale>
        <p:origin x="-3870" y="-12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10.fntdata"/><Relationship Id="rId21" Type="http://schemas.openxmlformats.org/officeDocument/2006/relationships/slide" Target="slides/slide13.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font" Target="fonts/font21.fntdata"/><Relationship Id="rId55" Type="http://schemas.openxmlformats.org/officeDocument/2006/relationships/font" Target="fonts/font26.fntdata"/><Relationship Id="rId63"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handoutMaster" Target="handoutMasters/handoutMaster1.xml"/><Relationship Id="rId41" Type="http://schemas.openxmlformats.org/officeDocument/2006/relationships/font" Target="fonts/font12.fntdata"/><Relationship Id="rId54" Type="http://schemas.openxmlformats.org/officeDocument/2006/relationships/font" Target="fonts/font25.fntdata"/><Relationship Id="rId62" Type="http://schemas.openxmlformats.org/officeDocument/2006/relationships/font" Target="fonts/font33.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font" Target="fonts/font24.fntdata"/><Relationship Id="rId58" Type="http://schemas.openxmlformats.org/officeDocument/2006/relationships/font" Target="fonts/font29.fntdata"/><Relationship Id="rId66"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36" Type="http://schemas.openxmlformats.org/officeDocument/2006/relationships/font" Target="fonts/font7.fntdata"/><Relationship Id="rId49" Type="http://schemas.openxmlformats.org/officeDocument/2006/relationships/font" Target="fonts/font20.fntdata"/><Relationship Id="rId57" Type="http://schemas.openxmlformats.org/officeDocument/2006/relationships/font" Target="fonts/font28.fntdata"/><Relationship Id="rId61" Type="http://schemas.openxmlformats.org/officeDocument/2006/relationships/font" Target="fonts/font32.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font" Target="fonts/font23.fntdata"/><Relationship Id="rId60" Type="http://schemas.openxmlformats.org/officeDocument/2006/relationships/font" Target="fonts/font31.fntdata"/><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56" Type="http://schemas.openxmlformats.org/officeDocument/2006/relationships/font" Target="fonts/font27.fntdata"/><Relationship Id="rId64"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font" Target="fonts/font22.fntdata"/><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59" Type="http://schemas.openxmlformats.org/officeDocument/2006/relationships/font" Target="fonts/font30.fntdata"/></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FEBF5F-65E5-4BE4-9C50-9575B7F9FBBE}" type="doc">
      <dgm:prSet loTypeId="urn:microsoft.com/office/officeart/2016/7/layout/RepeatingBendingProcessNew" loCatId="process" qsTypeId="urn:microsoft.com/office/officeart/2005/8/quickstyle/simple4" qsCatId="simple" csTypeId="urn:microsoft.com/office/officeart/2005/8/colors/accent3_2" csCatId="accent3" phldr="1"/>
      <dgm:spPr/>
      <dgm:t>
        <a:bodyPr/>
        <a:lstStyle/>
        <a:p>
          <a:endParaRPr lang="en-US"/>
        </a:p>
      </dgm:t>
    </dgm:pt>
    <dgm:pt modelId="{E2FEA1F4-FC81-45FF-A00F-8AD822BE55B9}">
      <dgm:prSet/>
      <dgm:spPr>
        <a:solidFill>
          <a:srgbClr val="4AAEFF"/>
        </a:solidFill>
      </dgm:spPr>
      <dgm:t>
        <a:bodyPr/>
        <a:lstStyle/>
        <a:p>
          <a:r>
            <a:rPr lang="en-US" dirty="0">
              <a:solidFill>
                <a:schemeClr val="tx1"/>
              </a:solidFill>
              <a:latin typeface="Century Gothic" pitchFamily="34" charset="0"/>
            </a:rPr>
            <a:t>A united team that will guide you towards great possibilities of business.</a:t>
          </a:r>
          <a:endParaRPr lang="en-US" dirty="0">
            <a:latin typeface="Century Gothic" pitchFamily="34" charset="0"/>
          </a:endParaRPr>
        </a:p>
      </dgm:t>
    </dgm:pt>
    <dgm:pt modelId="{554FD18A-A5E5-456A-B9BC-0CC858458E30}" type="parTrans" cxnId="{71D047DA-B537-497A-A090-D7F139E6A0FB}">
      <dgm:prSet/>
      <dgm:spPr/>
      <dgm:t>
        <a:bodyPr/>
        <a:lstStyle/>
        <a:p>
          <a:endParaRPr lang="en-US"/>
        </a:p>
      </dgm:t>
    </dgm:pt>
    <dgm:pt modelId="{CCE9AD2E-A13C-4D91-8A34-0812DC392683}" type="sibTrans" cxnId="{71D047DA-B537-497A-A090-D7F139E6A0FB}">
      <dgm:prSet/>
      <dgm:spPr>
        <a:ln>
          <a:solidFill>
            <a:schemeClr val="tx1"/>
          </a:solidFill>
        </a:ln>
      </dgm:spPr>
      <dgm:t>
        <a:bodyPr/>
        <a:lstStyle/>
        <a:p>
          <a:endParaRPr lang="en-US"/>
        </a:p>
      </dgm:t>
    </dgm:pt>
    <dgm:pt modelId="{85BAE6D0-9A7E-4581-927E-662AF9909737}">
      <dgm:prSet/>
      <dgm:spPr>
        <a:solidFill>
          <a:srgbClr val="4AAEFF"/>
        </a:solidFill>
      </dgm:spPr>
      <dgm:t>
        <a:bodyPr/>
        <a:lstStyle/>
        <a:p>
          <a:r>
            <a:rPr lang="en-US" dirty="0">
              <a:solidFill>
                <a:schemeClr val="tx1"/>
              </a:solidFill>
              <a:latin typeface="Century Gothic" pitchFamily="34" charset="0"/>
            </a:rPr>
            <a:t>Specialized and dedicated people are part of our team, with over 12 years of experience in the area.</a:t>
          </a:r>
        </a:p>
      </dgm:t>
    </dgm:pt>
    <dgm:pt modelId="{2295E994-AA6F-49C7-981B-3A30BACE54ED}" type="parTrans" cxnId="{5D4273FB-AF8B-4EF1-9A0C-8E44271A9354}">
      <dgm:prSet/>
      <dgm:spPr/>
      <dgm:t>
        <a:bodyPr/>
        <a:lstStyle/>
        <a:p>
          <a:endParaRPr lang="en-US"/>
        </a:p>
      </dgm:t>
    </dgm:pt>
    <dgm:pt modelId="{CA6FB5F7-081C-410F-9764-0F72B15471C0}" type="sibTrans" cxnId="{5D4273FB-AF8B-4EF1-9A0C-8E44271A9354}">
      <dgm:prSet/>
      <dgm:spPr>
        <a:ln>
          <a:solidFill>
            <a:schemeClr val="tx1"/>
          </a:solidFill>
        </a:ln>
      </dgm:spPr>
      <dgm:t>
        <a:bodyPr/>
        <a:lstStyle/>
        <a:p>
          <a:endParaRPr lang="en-US"/>
        </a:p>
      </dgm:t>
    </dgm:pt>
    <dgm:pt modelId="{3FD2F737-F472-481B-A1C4-5AFF01840425}">
      <dgm:prSet/>
      <dgm:spPr>
        <a:solidFill>
          <a:srgbClr val="4AAEFF"/>
        </a:solidFill>
      </dgm:spPr>
      <dgm:t>
        <a:bodyPr/>
        <a:lstStyle/>
        <a:p>
          <a:r>
            <a:rPr lang="en-US" dirty="0">
              <a:solidFill>
                <a:schemeClr val="tx1"/>
              </a:solidFill>
              <a:latin typeface="Century Gothic" pitchFamily="34" charset="0"/>
            </a:rPr>
            <a:t>We have a strong supply chain of different raw materials, with over 15 years of experience, from different sources, locally and abroad.</a:t>
          </a:r>
        </a:p>
      </dgm:t>
    </dgm:pt>
    <dgm:pt modelId="{D3E2A2B8-D3DC-40E6-93DC-BB69528EF7E8}" type="parTrans" cxnId="{B482D3D0-2785-40C0-9654-9A87FEE0CCA5}">
      <dgm:prSet/>
      <dgm:spPr/>
      <dgm:t>
        <a:bodyPr/>
        <a:lstStyle/>
        <a:p>
          <a:endParaRPr lang="en-US"/>
        </a:p>
      </dgm:t>
    </dgm:pt>
    <dgm:pt modelId="{C29DA699-CEC1-45E4-A4A6-9A333FAB77F4}" type="sibTrans" cxnId="{B482D3D0-2785-40C0-9654-9A87FEE0CCA5}">
      <dgm:prSet/>
      <dgm:spPr>
        <a:ln>
          <a:solidFill>
            <a:schemeClr val="tx1"/>
          </a:solidFill>
        </a:ln>
      </dgm:spPr>
      <dgm:t>
        <a:bodyPr/>
        <a:lstStyle/>
        <a:p>
          <a:endParaRPr lang="en-US"/>
        </a:p>
      </dgm:t>
    </dgm:pt>
    <dgm:pt modelId="{5BE18757-05BD-4BAD-BDAD-363F13D7AB00}">
      <dgm:prSet/>
      <dgm:spPr>
        <a:solidFill>
          <a:srgbClr val="4AAEFF"/>
        </a:solidFill>
      </dgm:spPr>
      <dgm:t>
        <a:bodyPr/>
        <a:lstStyle/>
        <a:p>
          <a:r>
            <a:rPr lang="en-US" dirty="0">
              <a:solidFill>
                <a:schemeClr val="tx1"/>
              </a:solidFill>
              <a:latin typeface="Century Gothic" pitchFamily="34" charset="0"/>
            </a:rPr>
            <a:t>We ensure a dedicated Merchandising and Quality Assurance team.</a:t>
          </a:r>
        </a:p>
      </dgm:t>
    </dgm:pt>
    <dgm:pt modelId="{7ECC9D50-B8F0-4BBF-8EB0-14EBAA046ABD}" type="parTrans" cxnId="{95446893-9B5A-4512-9880-CDF698B2556B}">
      <dgm:prSet/>
      <dgm:spPr/>
      <dgm:t>
        <a:bodyPr/>
        <a:lstStyle/>
        <a:p>
          <a:endParaRPr lang="en-US"/>
        </a:p>
      </dgm:t>
    </dgm:pt>
    <dgm:pt modelId="{40B6535D-6DEF-4CE8-B569-9F8C94E641EA}" type="sibTrans" cxnId="{95446893-9B5A-4512-9880-CDF698B2556B}">
      <dgm:prSet/>
      <dgm:spPr>
        <a:ln>
          <a:solidFill>
            <a:schemeClr val="tx1"/>
          </a:solidFill>
        </a:ln>
      </dgm:spPr>
      <dgm:t>
        <a:bodyPr/>
        <a:lstStyle/>
        <a:p>
          <a:endParaRPr lang="en-US"/>
        </a:p>
      </dgm:t>
    </dgm:pt>
    <dgm:pt modelId="{D2D72035-0114-406F-8CAB-A61DD5F58328}">
      <dgm:prSet/>
      <dgm:spPr>
        <a:solidFill>
          <a:srgbClr val="4AAEFF"/>
        </a:solidFill>
      </dgm:spPr>
      <dgm:t>
        <a:bodyPr/>
        <a:lstStyle/>
        <a:p>
          <a:r>
            <a:rPr lang="en-US" dirty="0">
              <a:solidFill>
                <a:schemeClr val="tx1"/>
              </a:solidFill>
              <a:latin typeface="Century Gothic" pitchFamily="34" charset="0"/>
            </a:rPr>
            <a:t>We offer an affordable price.</a:t>
          </a:r>
        </a:p>
      </dgm:t>
    </dgm:pt>
    <dgm:pt modelId="{EF6C21B7-5D60-47CC-80ED-59D98DA7C60E}" type="parTrans" cxnId="{3D163615-D764-44C2-9144-F1CA9910D090}">
      <dgm:prSet/>
      <dgm:spPr/>
      <dgm:t>
        <a:bodyPr/>
        <a:lstStyle/>
        <a:p>
          <a:endParaRPr lang="en-US"/>
        </a:p>
      </dgm:t>
    </dgm:pt>
    <dgm:pt modelId="{A7E436B6-3AED-484B-822D-EE6B4108945F}" type="sibTrans" cxnId="{3D163615-D764-44C2-9144-F1CA9910D090}">
      <dgm:prSet/>
      <dgm:spPr>
        <a:ln>
          <a:solidFill>
            <a:schemeClr val="tx1"/>
          </a:solidFill>
        </a:ln>
      </dgm:spPr>
      <dgm:t>
        <a:bodyPr/>
        <a:lstStyle/>
        <a:p>
          <a:endParaRPr lang="en-US"/>
        </a:p>
      </dgm:t>
    </dgm:pt>
    <dgm:pt modelId="{4A6AE3A2-BDE0-45B5-9DAE-143E41ED454D}">
      <dgm:prSet/>
      <dgm:spPr>
        <a:solidFill>
          <a:srgbClr val="4AAEFF"/>
        </a:solidFill>
      </dgm:spPr>
      <dgm:t>
        <a:bodyPr/>
        <a:lstStyle/>
        <a:p>
          <a:r>
            <a:rPr lang="en-US" dirty="0">
              <a:solidFill>
                <a:schemeClr val="tx1"/>
              </a:solidFill>
              <a:latin typeface="Century Gothic" pitchFamily="34" charset="0"/>
            </a:rPr>
            <a:t>Our team can guarantee you the right people to negotiate and establish a solid trust between both parts.</a:t>
          </a:r>
        </a:p>
      </dgm:t>
    </dgm:pt>
    <dgm:pt modelId="{F000E4C6-C2C8-495F-9F76-2953227929A2}" type="parTrans" cxnId="{7264838B-7217-4BA6-A06D-7991948C3626}">
      <dgm:prSet/>
      <dgm:spPr/>
      <dgm:t>
        <a:bodyPr/>
        <a:lstStyle/>
        <a:p>
          <a:endParaRPr lang="en-US"/>
        </a:p>
      </dgm:t>
    </dgm:pt>
    <dgm:pt modelId="{ACDC05F5-92DB-412D-A959-4C058F4DCDE2}" type="sibTrans" cxnId="{7264838B-7217-4BA6-A06D-7991948C3626}">
      <dgm:prSet/>
      <dgm:spPr/>
      <dgm:t>
        <a:bodyPr/>
        <a:lstStyle/>
        <a:p>
          <a:endParaRPr lang="en-US"/>
        </a:p>
      </dgm:t>
    </dgm:pt>
    <dgm:pt modelId="{4A5383CC-524F-49AD-8EFC-8EEBCE6644C7}">
      <dgm:prSet/>
      <dgm:spPr>
        <a:solidFill>
          <a:srgbClr val="4AAEFF"/>
        </a:solidFill>
      </dgm:spPr>
      <dgm:t>
        <a:bodyPr/>
        <a:lstStyle/>
        <a:p>
          <a:r>
            <a:rPr lang="en-US" dirty="0">
              <a:solidFill>
                <a:schemeClr val="tx1"/>
              </a:solidFill>
              <a:latin typeface="Century Gothic" pitchFamily="34" charset="0"/>
            </a:rPr>
            <a:t>We are committed to providing our customers timely deliveries with high product quality assured.</a:t>
          </a:r>
        </a:p>
      </dgm:t>
    </dgm:pt>
    <dgm:pt modelId="{1EDFA9A1-B48C-4686-868B-EDA67F2CB739}" type="parTrans" cxnId="{4FC7B064-F19C-4850-ADD8-9AD4478B578B}">
      <dgm:prSet/>
      <dgm:spPr/>
      <dgm:t>
        <a:bodyPr/>
        <a:lstStyle/>
        <a:p>
          <a:endParaRPr lang="en-US"/>
        </a:p>
      </dgm:t>
    </dgm:pt>
    <dgm:pt modelId="{00BCD177-CA59-46BC-9BDE-4F0F21ACF9AC}" type="sibTrans" cxnId="{4FC7B064-F19C-4850-ADD8-9AD4478B578B}">
      <dgm:prSet/>
      <dgm:spPr>
        <a:ln>
          <a:solidFill>
            <a:schemeClr val="tx1"/>
          </a:solidFill>
        </a:ln>
      </dgm:spPr>
      <dgm:t>
        <a:bodyPr/>
        <a:lstStyle/>
        <a:p>
          <a:endParaRPr lang="en-US"/>
        </a:p>
      </dgm:t>
    </dgm:pt>
    <dgm:pt modelId="{AC08CB51-0C89-45E3-90C7-F0883D4A386B}" type="pres">
      <dgm:prSet presAssocID="{56FEBF5F-65E5-4BE4-9C50-9575B7F9FBBE}" presName="Name0" presStyleCnt="0">
        <dgm:presLayoutVars>
          <dgm:dir/>
          <dgm:resizeHandles val="exact"/>
        </dgm:presLayoutVars>
      </dgm:prSet>
      <dgm:spPr/>
      <dgm:t>
        <a:bodyPr/>
        <a:lstStyle/>
        <a:p>
          <a:endParaRPr lang="en-US"/>
        </a:p>
      </dgm:t>
    </dgm:pt>
    <dgm:pt modelId="{02450C5F-84BD-4599-A440-80BA1362B019}" type="pres">
      <dgm:prSet presAssocID="{E2FEA1F4-FC81-45FF-A00F-8AD822BE55B9}" presName="node" presStyleLbl="node1" presStyleIdx="0" presStyleCnt="7">
        <dgm:presLayoutVars>
          <dgm:bulletEnabled val="1"/>
        </dgm:presLayoutVars>
      </dgm:prSet>
      <dgm:spPr/>
      <dgm:t>
        <a:bodyPr/>
        <a:lstStyle/>
        <a:p>
          <a:endParaRPr lang="en-US"/>
        </a:p>
      </dgm:t>
    </dgm:pt>
    <dgm:pt modelId="{99086310-270A-497E-960A-23AB45016ADF}" type="pres">
      <dgm:prSet presAssocID="{CCE9AD2E-A13C-4D91-8A34-0812DC392683}" presName="sibTrans" presStyleLbl="sibTrans1D1" presStyleIdx="0" presStyleCnt="6"/>
      <dgm:spPr/>
      <dgm:t>
        <a:bodyPr/>
        <a:lstStyle/>
        <a:p>
          <a:endParaRPr lang="en-US"/>
        </a:p>
      </dgm:t>
    </dgm:pt>
    <dgm:pt modelId="{8864C8B9-BCE3-49CA-9379-7EB98D579042}" type="pres">
      <dgm:prSet presAssocID="{CCE9AD2E-A13C-4D91-8A34-0812DC392683}" presName="connectorText" presStyleLbl="sibTrans1D1" presStyleIdx="0" presStyleCnt="6"/>
      <dgm:spPr/>
      <dgm:t>
        <a:bodyPr/>
        <a:lstStyle/>
        <a:p>
          <a:endParaRPr lang="en-US"/>
        </a:p>
      </dgm:t>
    </dgm:pt>
    <dgm:pt modelId="{2F3EDDF7-87C6-406D-9004-98E1A06C8186}" type="pres">
      <dgm:prSet presAssocID="{85BAE6D0-9A7E-4581-927E-662AF9909737}" presName="node" presStyleLbl="node1" presStyleIdx="1" presStyleCnt="7">
        <dgm:presLayoutVars>
          <dgm:bulletEnabled val="1"/>
        </dgm:presLayoutVars>
      </dgm:prSet>
      <dgm:spPr/>
      <dgm:t>
        <a:bodyPr/>
        <a:lstStyle/>
        <a:p>
          <a:endParaRPr lang="en-US"/>
        </a:p>
      </dgm:t>
    </dgm:pt>
    <dgm:pt modelId="{BD1E35AF-B510-4C84-A5FA-E0225A4860B2}" type="pres">
      <dgm:prSet presAssocID="{CA6FB5F7-081C-410F-9764-0F72B15471C0}" presName="sibTrans" presStyleLbl="sibTrans1D1" presStyleIdx="1" presStyleCnt="6"/>
      <dgm:spPr/>
      <dgm:t>
        <a:bodyPr/>
        <a:lstStyle/>
        <a:p>
          <a:endParaRPr lang="en-US"/>
        </a:p>
      </dgm:t>
    </dgm:pt>
    <dgm:pt modelId="{555843AA-0D2E-453B-9FD4-32DE50DC9C85}" type="pres">
      <dgm:prSet presAssocID="{CA6FB5F7-081C-410F-9764-0F72B15471C0}" presName="connectorText" presStyleLbl="sibTrans1D1" presStyleIdx="1" presStyleCnt="6"/>
      <dgm:spPr/>
      <dgm:t>
        <a:bodyPr/>
        <a:lstStyle/>
        <a:p>
          <a:endParaRPr lang="en-US"/>
        </a:p>
      </dgm:t>
    </dgm:pt>
    <dgm:pt modelId="{3546DD9A-C7C8-4665-AEB4-53C0479BE984}" type="pres">
      <dgm:prSet presAssocID="{3FD2F737-F472-481B-A1C4-5AFF01840425}" presName="node" presStyleLbl="node1" presStyleIdx="2" presStyleCnt="7">
        <dgm:presLayoutVars>
          <dgm:bulletEnabled val="1"/>
        </dgm:presLayoutVars>
      </dgm:prSet>
      <dgm:spPr/>
      <dgm:t>
        <a:bodyPr/>
        <a:lstStyle/>
        <a:p>
          <a:endParaRPr lang="en-US"/>
        </a:p>
      </dgm:t>
    </dgm:pt>
    <dgm:pt modelId="{F187CC10-EDA0-4E23-9F94-6ADDA08C02F7}" type="pres">
      <dgm:prSet presAssocID="{C29DA699-CEC1-45E4-A4A6-9A333FAB77F4}" presName="sibTrans" presStyleLbl="sibTrans1D1" presStyleIdx="2" presStyleCnt="6"/>
      <dgm:spPr/>
      <dgm:t>
        <a:bodyPr/>
        <a:lstStyle/>
        <a:p>
          <a:endParaRPr lang="en-US"/>
        </a:p>
      </dgm:t>
    </dgm:pt>
    <dgm:pt modelId="{D4236E89-0A60-4B07-ACDA-95D827C58282}" type="pres">
      <dgm:prSet presAssocID="{C29DA699-CEC1-45E4-A4A6-9A333FAB77F4}" presName="connectorText" presStyleLbl="sibTrans1D1" presStyleIdx="2" presStyleCnt="6"/>
      <dgm:spPr/>
      <dgm:t>
        <a:bodyPr/>
        <a:lstStyle/>
        <a:p>
          <a:endParaRPr lang="en-US"/>
        </a:p>
      </dgm:t>
    </dgm:pt>
    <dgm:pt modelId="{E496208A-E1D6-4E37-9BC4-075FDA869826}" type="pres">
      <dgm:prSet presAssocID="{5BE18757-05BD-4BAD-BDAD-363F13D7AB00}" presName="node" presStyleLbl="node1" presStyleIdx="3" presStyleCnt="7">
        <dgm:presLayoutVars>
          <dgm:bulletEnabled val="1"/>
        </dgm:presLayoutVars>
      </dgm:prSet>
      <dgm:spPr/>
      <dgm:t>
        <a:bodyPr/>
        <a:lstStyle/>
        <a:p>
          <a:endParaRPr lang="en-US"/>
        </a:p>
      </dgm:t>
    </dgm:pt>
    <dgm:pt modelId="{E7886012-0F39-42EE-A773-B49EBF467640}" type="pres">
      <dgm:prSet presAssocID="{40B6535D-6DEF-4CE8-B569-9F8C94E641EA}" presName="sibTrans" presStyleLbl="sibTrans1D1" presStyleIdx="3" presStyleCnt="6"/>
      <dgm:spPr/>
      <dgm:t>
        <a:bodyPr/>
        <a:lstStyle/>
        <a:p>
          <a:endParaRPr lang="en-US"/>
        </a:p>
      </dgm:t>
    </dgm:pt>
    <dgm:pt modelId="{5647ED9F-962F-421D-AACD-B2C6AD90EF38}" type="pres">
      <dgm:prSet presAssocID="{40B6535D-6DEF-4CE8-B569-9F8C94E641EA}" presName="connectorText" presStyleLbl="sibTrans1D1" presStyleIdx="3" presStyleCnt="6"/>
      <dgm:spPr/>
      <dgm:t>
        <a:bodyPr/>
        <a:lstStyle/>
        <a:p>
          <a:endParaRPr lang="en-US"/>
        </a:p>
      </dgm:t>
    </dgm:pt>
    <dgm:pt modelId="{AE978E2D-38E4-4363-B5AE-D3601980C51B}" type="pres">
      <dgm:prSet presAssocID="{D2D72035-0114-406F-8CAB-A61DD5F58328}" presName="node" presStyleLbl="node1" presStyleIdx="4" presStyleCnt="7">
        <dgm:presLayoutVars>
          <dgm:bulletEnabled val="1"/>
        </dgm:presLayoutVars>
      </dgm:prSet>
      <dgm:spPr/>
      <dgm:t>
        <a:bodyPr/>
        <a:lstStyle/>
        <a:p>
          <a:endParaRPr lang="en-US"/>
        </a:p>
      </dgm:t>
    </dgm:pt>
    <dgm:pt modelId="{0449E07A-CEBD-4275-9C2B-CD77C2BFA171}" type="pres">
      <dgm:prSet presAssocID="{A7E436B6-3AED-484B-822D-EE6B4108945F}" presName="sibTrans" presStyleLbl="sibTrans1D1" presStyleIdx="4" presStyleCnt="6"/>
      <dgm:spPr/>
      <dgm:t>
        <a:bodyPr/>
        <a:lstStyle/>
        <a:p>
          <a:endParaRPr lang="en-US"/>
        </a:p>
      </dgm:t>
    </dgm:pt>
    <dgm:pt modelId="{0B5EB475-B174-453E-ACC2-6AFDAA28ABA9}" type="pres">
      <dgm:prSet presAssocID="{A7E436B6-3AED-484B-822D-EE6B4108945F}" presName="connectorText" presStyleLbl="sibTrans1D1" presStyleIdx="4" presStyleCnt="6"/>
      <dgm:spPr/>
      <dgm:t>
        <a:bodyPr/>
        <a:lstStyle/>
        <a:p>
          <a:endParaRPr lang="en-US"/>
        </a:p>
      </dgm:t>
    </dgm:pt>
    <dgm:pt modelId="{C51E2F3C-2D57-443E-8595-38DFEAD5F811}" type="pres">
      <dgm:prSet presAssocID="{4A5383CC-524F-49AD-8EFC-8EEBCE6644C7}" presName="node" presStyleLbl="node1" presStyleIdx="5" presStyleCnt="7">
        <dgm:presLayoutVars>
          <dgm:bulletEnabled val="1"/>
        </dgm:presLayoutVars>
      </dgm:prSet>
      <dgm:spPr/>
      <dgm:t>
        <a:bodyPr/>
        <a:lstStyle/>
        <a:p>
          <a:endParaRPr lang="en-US"/>
        </a:p>
      </dgm:t>
    </dgm:pt>
    <dgm:pt modelId="{D1C63A87-D167-4D32-AEFB-9CC67CC333C3}" type="pres">
      <dgm:prSet presAssocID="{00BCD177-CA59-46BC-9BDE-4F0F21ACF9AC}" presName="sibTrans" presStyleLbl="sibTrans1D1" presStyleIdx="5" presStyleCnt="6"/>
      <dgm:spPr/>
      <dgm:t>
        <a:bodyPr/>
        <a:lstStyle/>
        <a:p>
          <a:endParaRPr lang="en-US"/>
        </a:p>
      </dgm:t>
    </dgm:pt>
    <dgm:pt modelId="{724EC68E-45DC-4EE4-A142-B646544398F5}" type="pres">
      <dgm:prSet presAssocID="{00BCD177-CA59-46BC-9BDE-4F0F21ACF9AC}" presName="connectorText" presStyleLbl="sibTrans1D1" presStyleIdx="5" presStyleCnt="6"/>
      <dgm:spPr/>
      <dgm:t>
        <a:bodyPr/>
        <a:lstStyle/>
        <a:p>
          <a:endParaRPr lang="en-US"/>
        </a:p>
      </dgm:t>
    </dgm:pt>
    <dgm:pt modelId="{510145F6-B7A4-4AF1-9C3F-2EF5845B9060}" type="pres">
      <dgm:prSet presAssocID="{4A6AE3A2-BDE0-45B5-9DAE-143E41ED454D}" presName="node" presStyleLbl="node1" presStyleIdx="6" presStyleCnt="7">
        <dgm:presLayoutVars>
          <dgm:bulletEnabled val="1"/>
        </dgm:presLayoutVars>
      </dgm:prSet>
      <dgm:spPr/>
      <dgm:t>
        <a:bodyPr/>
        <a:lstStyle/>
        <a:p>
          <a:endParaRPr lang="en-US"/>
        </a:p>
      </dgm:t>
    </dgm:pt>
  </dgm:ptLst>
  <dgm:cxnLst>
    <dgm:cxn modelId="{1DF09F3F-CF78-4C52-A308-6D9A683AC54F}" type="presOf" srcId="{C29DA699-CEC1-45E4-A4A6-9A333FAB77F4}" destId="{D4236E89-0A60-4B07-ACDA-95D827C58282}" srcOrd="1" destOrd="0" presId="urn:microsoft.com/office/officeart/2016/7/layout/RepeatingBendingProcessNew"/>
    <dgm:cxn modelId="{4FEBED8F-B692-4BD9-9DA2-4258DB62790E}" type="presOf" srcId="{A7E436B6-3AED-484B-822D-EE6B4108945F}" destId="{0449E07A-CEBD-4275-9C2B-CD77C2BFA171}" srcOrd="0" destOrd="0" presId="urn:microsoft.com/office/officeart/2016/7/layout/RepeatingBendingProcessNew"/>
    <dgm:cxn modelId="{F47039AE-7A88-42B3-8509-C1DB1D2C0413}" type="presOf" srcId="{C29DA699-CEC1-45E4-A4A6-9A333FAB77F4}" destId="{F187CC10-EDA0-4E23-9F94-6ADDA08C02F7}" srcOrd="0" destOrd="0" presId="urn:microsoft.com/office/officeart/2016/7/layout/RepeatingBendingProcessNew"/>
    <dgm:cxn modelId="{24BEDC21-23B2-47E3-9BB0-C4D94BB866DB}" type="presOf" srcId="{85BAE6D0-9A7E-4581-927E-662AF9909737}" destId="{2F3EDDF7-87C6-406D-9004-98E1A06C8186}" srcOrd="0" destOrd="0" presId="urn:microsoft.com/office/officeart/2016/7/layout/RepeatingBendingProcessNew"/>
    <dgm:cxn modelId="{71D047DA-B537-497A-A090-D7F139E6A0FB}" srcId="{56FEBF5F-65E5-4BE4-9C50-9575B7F9FBBE}" destId="{E2FEA1F4-FC81-45FF-A00F-8AD822BE55B9}" srcOrd="0" destOrd="0" parTransId="{554FD18A-A5E5-456A-B9BC-0CC858458E30}" sibTransId="{CCE9AD2E-A13C-4D91-8A34-0812DC392683}"/>
    <dgm:cxn modelId="{7F25A9B6-4D9E-4B4B-B294-DA041670D565}" type="presOf" srcId="{3FD2F737-F472-481B-A1C4-5AFF01840425}" destId="{3546DD9A-C7C8-4665-AEB4-53C0479BE984}" srcOrd="0" destOrd="0" presId="urn:microsoft.com/office/officeart/2016/7/layout/RepeatingBendingProcessNew"/>
    <dgm:cxn modelId="{0C47718E-5C72-4911-AB6E-C45D4C1EF0B6}" type="presOf" srcId="{4A5383CC-524F-49AD-8EFC-8EEBCE6644C7}" destId="{C51E2F3C-2D57-443E-8595-38DFEAD5F811}" srcOrd="0" destOrd="0" presId="urn:microsoft.com/office/officeart/2016/7/layout/RepeatingBendingProcessNew"/>
    <dgm:cxn modelId="{B482D3D0-2785-40C0-9654-9A87FEE0CCA5}" srcId="{56FEBF5F-65E5-4BE4-9C50-9575B7F9FBBE}" destId="{3FD2F737-F472-481B-A1C4-5AFF01840425}" srcOrd="2" destOrd="0" parTransId="{D3E2A2B8-D3DC-40E6-93DC-BB69528EF7E8}" sibTransId="{C29DA699-CEC1-45E4-A4A6-9A333FAB77F4}"/>
    <dgm:cxn modelId="{9ED16DEE-BA1B-44C7-A883-537CED82BDF4}" type="presOf" srcId="{CCE9AD2E-A13C-4D91-8A34-0812DC392683}" destId="{99086310-270A-497E-960A-23AB45016ADF}" srcOrd="0" destOrd="0" presId="urn:microsoft.com/office/officeart/2016/7/layout/RepeatingBendingProcessNew"/>
    <dgm:cxn modelId="{EFF92FDA-8216-45DB-9AB6-2EAE0D5DE8A5}" type="presOf" srcId="{E2FEA1F4-FC81-45FF-A00F-8AD822BE55B9}" destId="{02450C5F-84BD-4599-A440-80BA1362B019}" srcOrd="0" destOrd="0" presId="urn:microsoft.com/office/officeart/2016/7/layout/RepeatingBendingProcessNew"/>
    <dgm:cxn modelId="{84C7E0F8-DA2F-4861-92AD-452742E5FAD1}" type="presOf" srcId="{CCE9AD2E-A13C-4D91-8A34-0812DC392683}" destId="{8864C8B9-BCE3-49CA-9379-7EB98D579042}" srcOrd="1" destOrd="0" presId="urn:microsoft.com/office/officeart/2016/7/layout/RepeatingBendingProcessNew"/>
    <dgm:cxn modelId="{C7EFB9C3-B779-43E6-BAE7-022F7CB75FE5}" type="presOf" srcId="{56FEBF5F-65E5-4BE4-9C50-9575B7F9FBBE}" destId="{AC08CB51-0C89-45E3-90C7-F0883D4A386B}" srcOrd="0" destOrd="0" presId="urn:microsoft.com/office/officeart/2016/7/layout/RepeatingBendingProcessNew"/>
    <dgm:cxn modelId="{F2701750-68D5-45C9-ADDC-BECA97FEDFF5}" type="presOf" srcId="{D2D72035-0114-406F-8CAB-A61DD5F58328}" destId="{AE978E2D-38E4-4363-B5AE-D3601980C51B}" srcOrd="0" destOrd="0" presId="urn:microsoft.com/office/officeart/2016/7/layout/RepeatingBendingProcessNew"/>
    <dgm:cxn modelId="{4B520151-6925-49BA-B7D1-191BA2DB0C70}" type="presOf" srcId="{40B6535D-6DEF-4CE8-B569-9F8C94E641EA}" destId="{5647ED9F-962F-421D-AACD-B2C6AD90EF38}" srcOrd="1" destOrd="0" presId="urn:microsoft.com/office/officeart/2016/7/layout/RepeatingBendingProcessNew"/>
    <dgm:cxn modelId="{D3BC4E8A-27D1-439F-A459-FCA96C9FBFD3}" type="presOf" srcId="{CA6FB5F7-081C-410F-9764-0F72B15471C0}" destId="{BD1E35AF-B510-4C84-A5FA-E0225A4860B2}" srcOrd="0" destOrd="0" presId="urn:microsoft.com/office/officeart/2016/7/layout/RepeatingBendingProcessNew"/>
    <dgm:cxn modelId="{4D025FD5-7FC0-4CF6-BEED-82AC21725BE2}" type="presOf" srcId="{4A6AE3A2-BDE0-45B5-9DAE-143E41ED454D}" destId="{510145F6-B7A4-4AF1-9C3F-2EF5845B9060}" srcOrd="0" destOrd="0" presId="urn:microsoft.com/office/officeart/2016/7/layout/RepeatingBendingProcessNew"/>
    <dgm:cxn modelId="{52786B30-1E3C-4316-AB66-48703A7F7C93}" type="presOf" srcId="{00BCD177-CA59-46BC-9BDE-4F0F21ACF9AC}" destId="{724EC68E-45DC-4EE4-A142-B646544398F5}" srcOrd="1" destOrd="0" presId="urn:microsoft.com/office/officeart/2016/7/layout/RepeatingBendingProcessNew"/>
    <dgm:cxn modelId="{6750B756-84A7-422D-B979-C965EFD79931}" type="presOf" srcId="{A7E436B6-3AED-484B-822D-EE6B4108945F}" destId="{0B5EB475-B174-453E-ACC2-6AFDAA28ABA9}" srcOrd="1" destOrd="0" presId="urn:microsoft.com/office/officeart/2016/7/layout/RepeatingBendingProcessNew"/>
    <dgm:cxn modelId="{95446893-9B5A-4512-9880-CDF698B2556B}" srcId="{56FEBF5F-65E5-4BE4-9C50-9575B7F9FBBE}" destId="{5BE18757-05BD-4BAD-BDAD-363F13D7AB00}" srcOrd="3" destOrd="0" parTransId="{7ECC9D50-B8F0-4BBF-8EB0-14EBAA046ABD}" sibTransId="{40B6535D-6DEF-4CE8-B569-9F8C94E641EA}"/>
    <dgm:cxn modelId="{7264838B-7217-4BA6-A06D-7991948C3626}" srcId="{56FEBF5F-65E5-4BE4-9C50-9575B7F9FBBE}" destId="{4A6AE3A2-BDE0-45B5-9DAE-143E41ED454D}" srcOrd="6" destOrd="0" parTransId="{F000E4C6-C2C8-495F-9F76-2953227929A2}" sibTransId="{ACDC05F5-92DB-412D-A959-4C058F4DCDE2}"/>
    <dgm:cxn modelId="{9809B908-A393-42A8-BDF2-D19014EAF702}" type="presOf" srcId="{40B6535D-6DEF-4CE8-B569-9F8C94E641EA}" destId="{E7886012-0F39-42EE-A773-B49EBF467640}" srcOrd="0" destOrd="0" presId="urn:microsoft.com/office/officeart/2016/7/layout/RepeatingBendingProcessNew"/>
    <dgm:cxn modelId="{26C5891C-D77B-4854-A81A-5D5C460BC5CE}" type="presOf" srcId="{CA6FB5F7-081C-410F-9764-0F72B15471C0}" destId="{555843AA-0D2E-453B-9FD4-32DE50DC9C85}" srcOrd="1" destOrd="0" presId="urn:microsoft.com/office/officeart/2016/7/layout/RepeatingBendingProcessNew"/>
    <dgm:cxn modelId="{92872F5D-5345-44E1-9891-58BE8460B039}" type="presOf" srcId="{5BE18757-05BD-4BAD-BDAD-363F13D7AB00}" destId="{E496208A-E1D6-4E37-9BC4-075FDA869826}" srcOrd="0" destOrd="0" presId="urn:microsoft.com/office/officeart/2016/7/layout/RepeatingBendingProcessNew"/>
    <dgm:cxn modelId="{3D163615-D764-44C2-9144-F1CA9910D090}" srcId="{56FEBF5F-65E5-4BE4-9C50-9575B7F9FBBE}" destId="{D2D72035-0114-406F-8CAB-A61DD5F58328}" srcOrd="4" destOrd="0" parTransId="{EF6C21B7-5D60-47CC-80ED-59D98DA7C60E}" sibTransId="{A7E436B6-3AED-484B-822D-EE6B4108945F}"/>
    <dgm:cxn modelId="{5D4273FB-AF8B-4EF1-9A0C-8E44271A9354}" srcId="{56FEBF5F-65E5-4BE4-9C50-9575B7F9FBBE}" destId="{85BAE6D0-9A7E-4581-927E-662AF9909737}" srcOrd="1" destOrd="0" parTransId="{2295E994-AA6F-49C7-981B-3A30BACE54ED}" sibTransId="{CA6FB5F7-081C-410F-9764-0F72B15471C0}"/>
    <dgm:cxn modelId="{4FC7B064-F19C-4850-ADD8-9AD4478B578B}" srcId="{56FEBF5F-65E5-4BE4-9C50-9575B7F9FBBE}" destId="{4A5383CC-524F-49AD-8EFC-8EEBCE6644C7}" srcOrd="5" destOrd="0" parTransId="{1EDFA9A1-B48C-4686-868B-EDA67F2CB739}" sibTransId="{00BCD177-CA59-46BC-9BDE-4F0F21ACF9AC}"/>
    <dgm:cxn modelId="{08C84F08-D765-4E85-B0EF-5302750A4313}" type="presOf" srcId="{00BCD177-CA59-46BC-9BDE-4F0F21ACF9AC}" destId="{D1C63A87-D167-4D32-AEFB-9CC67CC333C3}" srcOrd="0" destOrd="0" presId="urn:microsoft.com/office/officeart/2016/7/layout/RepeatingBendingProcessNew"/>
    <dgm:cxn modelId="{70D8059A-22FB-43F9-B92D-9722C5D36B59}" type="presParOf" srcId="{AC08CB51-0C89-45E3-90C7-F0883D4A386B}" destId="{02450C5F-84BD-4599-A440-80BA1362B019}" srcOrd="0" destOrd="0" presId="urn:microsoft.com/office/officeart/2016/7/layout/RepeatingBendingProcessNew"/>
    <dgm:cxn modelId="{4E97D604-4DEB-4B11-B274-622AD478106C}" type="presParOf" srcId="{AC08CB51-0C89-45E3-90C7-F0883D4A386B}" destId="{99086310-270A-497E-960A-23AB45016ADF}" srcOrd="1" destOrd="0" presId="urn:microsoft.com/office/officeart/2016/7/layout/RepeatingBendingProcessNew"/>
    <dgm:cxn modelId="{90E8C462-B5E3-43E7-856E-53764EC464DF}" type="presParOf" srcId="{99086310-270A-497E-960A-23AB45016ADF}" destId="{8864C8B9-BCE3-49CA-9379-7EB98D579042}" srcOrd="0" destOrd="0" presId="urn:microsoft.com/office/officeart/2016/7/layout/RepeatingBendingProcessNew"/>
    <dgm:cxn modelId="{657B9313-4BE8-4FA6-AF39-7DDDCED3D9E2}" type="presParOf" srcId="{AC08CB51-0C89-45E3-90C7-F0883D4A386B}" destId="{2F3EDDF7-87C6-406D-9004-98E1A06C8186}" srcOrd="2" destOrd="0" presId="urn:microsoft.com/office/officeart/2016/7/layout/RepeatingBendingProcessNew"/>
    <dgm:cxn modelId="{04B2FD0D-C91B-4C45-B22C-C7F9838DE21A}" type="presParOf" srcId="{AC08CB51-0C89-45E3-90C7-F0883D4A386B}" destId="{BD1E35AF-B510-4C84-A5FA-E0225A4860B2}" srcOrd="3" destOrd="0" presId="urn:microsoft.com/office/officeart/2016/7/layout/RepeatingBendingProcessNew"/>
    <dgm:cxn modelId="{3447C941-14A4-4611-AEE9-AE9BEB19C39D}" type="presParOf" srcId="{BD1E35AF-B510-4C84-A5FA-E0225A4860B2}" destId="{555843AA-0D2E-453B-9FD4-32DE50DC9C85}" srcOrd="0" destOrd="0" presId="urn:microsoft.com/office/officeart/2016/7/layout/RepeatingBendingProcessNew"/>
    <dgm:cxn modelId="{A9697900-1B1E-41E3-A29A-272AF48BE0FC}" type="presParOf" srcId="{AC08CB51-0C89-45E3-90C7-F0883D4A386B}" destId="{3546DD9A-C7C8-4665-AEB4-53C0479BE984}" srcOrd="4" destOrd="0" presId="urn:microsoft.com/office/officeart/2016/7/layout/RepeatingBendingProcessNew"/>
    <dgm:cxn modelId="{BFC7D947-9A39-4642-8780-E7D085F63B8F}" type="presParOf" srcId="{AC08CB51-0C89-45E3-90C7-F0883D4A386B}" destId="{F187CC10-EDA0-4E23-9F94-6ADDA08C02F7}" srcOrd="5" destOrd="0" presId="urn:microsoft.com/office/officeart/2016/7/layout/RepeatingBendingProcessNew"/>
    <dgm:cxn modelId="{F0E67DEA-8D92-48DD-9652-B94AFE9B799D}" type="presParOf" srcId="{F187CC10-EDA0-4E23-9F94-6ADDA08C02F7}" destId="{D4236E89-0A60-4B07-ACDA-95D827C58282}" srcOrd="0" destOrd="0" presId="urn:microsoft.com/office/officeart/2016/7/layout/RepeatingBendingProcessNew"/>
    <dgm:cxn modelId="{241531DA-B074-449E-8557-860734D09167}" type="presParOf" srcId="{AC08CB51-0C89-45E3-90C7-F0883D4A386B}" destId="{E496208A-E1D6-4E37-9BC4-075FDA869826}" srcOrd="6" destOrd="0" presId="urn:microsoft.com/office/officeart/2016/7/layout/RepeatingBendingProcessNew"/>
    <dgm:cxn modelId="{2707FA08-0A46-47DF-95A7-853CE89E1AF7}" type="presParOf" srcId="{AC08CB51-0C89-45E3-90C7-F0883D4A386B}" destId="{E7886012-0F39-42EE-A773-B49EBF467640}" srcOrd="7" destOrd="0" presId="urn:microsoft.com/office/officeart/2016/7/layout/RepeatingBendingProcessNew"/>
    <dgm:cxn modelId="{BB9002E6-F547-48AB-93F5-5B939E4953A2}" type="presParOf" srcId="{E7886012-0F39-42EE-A773-B49EBF467640}" destId="{5647ED9F-962F-421D-AACD-B2C6AD90EF38}" srcOrd="0" destOrd="0" presId="urn:microsoft.com/office/officeart/2016/7/layout/RepeatingBendingProcessNew"/>
    <dgm:cxn modelId="{03EDBF99-AA0D-4D04-8B0F-B493CAFE2D58}" type="presParOf" srcId="{AC08CB51-0C89-45E3-90C7-F0883D4A386B}" destId="{AE978E2D-38E4-4363-B5AE-D3601980C51B}" srcOrd="8" destOrd="0" presId="urn:microsoft.com/office/officeart/2016/7/layout/RepeatingBendingProcessNew"/>
    <dgm:cxn modelId="{53C1F265-5921-465D-B02F-37318937570E}" type="presParOf" srcId="{AC08CB51-0C89-45E3-90C7-F0883D4A386B}" destId="{0449E07A-CEBD-4275-9C2B-CD77C2BFA171}" srcOrd="9" destOrd="0" presId="urn:microsoft.com/office/officeart/2016/7/layout/RepeatingBendingProcessNew"/>
    <dgm:cxn modelId="{F64039B2-CD4F-4ED2-9867-9F504EB9A0D4}" type="presParOf" srcId="{0449E07A-CEBD-4275-9C2B-CD77C2BFA171}" destId="{0B5EB475-B174-453E-ACC2-6AFDAA28ABA9}" srcOrd="0" destOrd="0" presId="urn:microsoft.com/office/officeart/2016/7/layout/RepeatingBendingProcessNew"/>
    <dgm:cxn modelId="{3FFB0B58-D2E4-4778-BBE8-8DAAE6EA6A41}" type="presParOf" srcId="{AC08CB51-0C89-45E3-90C7-F0883D4A386B}" destId="{C51E2F3C-2D57-443E-8595-38DFEAD5F811}" srcOrd="10" destOrd="0" presId="urn:microsoft.com/office/officeart/2016/7/layout/RepeatingBendingProcessNew"/>
    <dgm:cxn modelId="{1AEB3B2A-ECB8-4B26-BFE4-89E8C6E40245}" type="presParOf" srcId="{AC08CB51-0C89-45E3-90C7-F0883D4A386B}" destId="{D1C63A87-D167-4D32-AEFB-9CC67CC333C3}" srcOrd="11" destOrd="0" presId="urn:microsoft.com/office/officeart/2016/7/layout/RepeatingBendingProcessNew"/>
    <dgm:cxn modelId="{F6A864E2-738C-4760-B04A-C263A186C39A}" type="presParOf" srcId="{D1C63A87-D167-4D32-AEFB-9CC67CC333C3}" destId="{724EC68E-45DC-4EE4-A142-B646544398F5}" srcOrd="0" destOrd="0" presId="urn:microsoft.com/office/officeart/2016/7/layout/RepeatingBendingProcessNew"/>
    <dgm:cxn modelId="{400FAC83-7461-4C97-B6D5-DAF5933A5DD2}" type="presParOf" srcId="{AC08CB51-0C89-45E3-90C7-F0883D4A386B}" destId="{510145F6-B7A4-4AF1-9C3F-2EF5845B9060}" srcOrd="12"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086310-270A-497E-960A-23AB45016ADF}">
      <dsp:nvSpPr>
        <dsp:cNvPr id="0" name=""/>
        <dsp:cNvSpPr/>
      </dsp:nvSpPr>
      <dsp:spPr>
        <a:xfrm>
          <a:off x="2564914" y="1186592"/>
          <a:ext cx="559193" cy="91440"/>
        </a:xfrm>
        <a:custGeom>
          <a:avLst/>
          <a:gdLst/>
          <a:ahLst/>
          <a:cxnLst/>
          <a:rect l="0" t="0" r="0" b="0"/>
          <a:pathLst>
            <a:path>
              <a:moveTo>
                <a:pt x="0" y="45720"/>
              </a:moveTo>
              <a:lnTo>
                <a:pt x="559193" y="45720"/>
              </a:lnTo>
            </a:path>
          </a:pathLst>
        </a:custGeom>
        <a:noFill/>
        <a:ln w="6350" cap="flat" cmpd="sng" algn="ctr">
          <a:solidFill>
            <a:schemeClr val="tx1"/>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829766" y="1229363"/>
        <a:ext cx="29489" cy="5897"/>
      </dsp:txXfrm>
    </dsp:sp>
    <dsp:sp modelId="{02450C5F-84BD-4599-A440-80BA1362B019}">
      <dsp:nvSpPr>
        <dsp:cNvPr id="0" name=""/>
        <dsp:cNvSpPr/>
      </dsp:nvSpPr>
      <dsp:spPr>
        <a:xfrm>
          <a:off x="2393" y="463016"/>
          <a:ext cx="2564320" cy="1538592"/>
        </a:xfrm>
        <a:prstGeom prst="rect">
          <a:avLst/>
        </a:prstGeom>
        <a:solidFill>
          <a:srgbClr val="4AAEFF"/>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5654" tIns="131896" rIns="125654" bIns="131896"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latin typeface="Century Gothic" pitchFamily="34" charset="0"/>
            </a:rPr>
            <a:t>A united team that will guide you towards great possibilities of business.</a:t>
          </a:r>
          <a:endParaRPr lang="en-US" sz="1500" kern="1200" dirty="0">
            <a:latin typeface="Century Gothic" pitchFamily="34" charset="0"/>
          </a:endParaRPr>
        </a:p>
      </dsp:txBody>
      <dsp:txXfrm>
        <a:off x="2393" y="463016"/>
        <a:ext cx="2564320" cy="1538592"/>
      </dsp:txXfrm>
    </dsp:sp>
    <dsp:sp modelId="{BD1E35AF-B510-4C84-A5FA-E0225A4860B2}">
      <dsp:nvSpPr>
        <dsp:cNvPr id="0" name=""/>
        <dsp:cNvSpPr/>
      </dsp:nvSpPr>
      <dsp:spPr>
        <a:xfrm>
          <a:off x="5719028" y="1186592"/>
          <a:ext cx="559193" cy="91440"/>
        </a:xfrm>
        <a:custGeom>
          <a:avLst/>
          <a:gdLst/>
          <a:ahLst/>
          <a:cxnLst/>
          <a:rect l="0" t="0" r="0" b="0"/>
          <a:pathLst>
            <a:path>
              <a:moveTo>
                <a:pt x="0" y="45720"/>
              </a:moveTo>
              <a:lnTo>
                <a:pt x="559193" y="45720"/>
              </a:lnTo>
            </a:path>
          </a:pathLst>
        </a:custGeom>
        <a:noFill/>
        <a:ln w="6350" cap="flat" cmpd="sng" algn="ctr">
          <a:solidFill>
            <a:schemeClr val="tx1"/>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983880" y="1229363"/>
        <a:ext cx="29489" cy="5897"/>
      </dsp:txXfrm>
    </dsp:sp>
    <dsp:sp modelId="{2F3EDDF7-87C6-406D-9004-98E1A06C8186}">
      <dsp:nvSpPr>
        <dsp:cNvPr id="0" name=""/>
        <dsp:cNvSpPr/>
      </dsp:nvSpPr>
      <dsp:spPr>
        <a:xfrm>
          <a:off x="3156507" y="463016"/>
          <a:ext cx="2564320" cy="1538592"/>
        </a:xfrm>
        <a:prstGeom prst="rect">
          <a:avLst/>
        </a:prstGeom>
        <a:solidFill>
          <a:srgbClr val="4AAEFF"/>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5654" tIns="131896" rIns="125654" bIns="131896"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latin typeface="Century Gothic" pitchFamily="34" charset="0"/>
            </a:rPr>
            <a:t>Specialized and dedicated people are part of our team, with over 12 years of experience in the area.</a:t>
          </a:r>
        </a:p>
      </dsp:txBody>
      <dsp:txXfrm>
        <a:off x="3156507" y="463016"/>
        <a:ext cx="2564320" cy="1538592"/>
      </dsp:txXfrm>
    </dsp:sp>
    <dsp:sp modelId="{F187CC10-EDA0-4E23-9F94-6ADDA08C02F7}">
      <dsp:nvSpPr>
        <dsp:cNvPr id="0" name=""/>
        <dsp:cNvSpPr/>
      </dsp:nvSpPr>
      <dsp:spPr>
        <a:xfrm>
          <a:off x="8873142" y="1186592"/>
          <a:ext cx="559193" cy="91440"/>
        </a:xfrm>
        <a:custGeom>
          <a:avLst/>
          <a:gdLst/>
          <a:ahLst/>
          <a:cxnLst/>
          <a:rect l="0" t="0" r="0" b="0"/>
          <a:pathLst>
            <a:path>
              <a:moveTo>
                <a:pt x="0" y="45720"/>
              </a:moveTo>
              <a:lnTo>
                <a:pt x="559193" y="45720"/>
              </a:lnTo>
            </a:path>
          </a:pathLst>
        </a:custGeom>
        <a:noFill/>
        <a:ln w="6350" cap="flat" cmpd="sng" algn="ctr">
          <a:solidFill>
            <a:schemeClr val="tx1"/>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9137994" y="1229363"/>
        <a:ext cx="29489" cy="5897"/>
      </dsp:txXfrm>
    </dsp:sp>
    <dsp:sp modelId="{3546DD9A-C7C8-4665-AEB4-53C0479BE984}">
      <dsp:nvSpPr>
        <dsp:cNvPr id="0" name=""/>
        <dsp:cNvSpPr/>
      </dsp:nvSpPr>
      <dsp:spPr>
        <a:xfrm>
          <a:off x="6310621" y="463016"/>
          <a:ext cx="2564320" cy="1538592"/>
        </a:xfrm>
        <a:prstGeom prst="rect">
          <a:avLst/>
        </a:prstGeom>
        <a:solidFill>
          <a:srgbClr val="4AAEFF"/>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5654" tIns="131896" rIns="125654" bIns="131896"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latin typeface="Century Gothic" pitchFamily="34" charset="0"/>
            </a:rPr>
            <a:t>We have a strong supply chain of different raw materials, with over 15 years of experience, from different sources, locally and abroad.</a:t>
          </a:r>
        </a:p>
      </dsp:txBody>
      <dsp:txXfrm>
        <a:off x="6310621" y="463016"/>
        <a:ext cx="2564320" cy="1538592"/>
      </dsp:txXfrm>
    </dsp:sp>
    <dsp:sp modelId="{E7886012-0F39-42EE-A773-B49EBF467640}">
      <dsp:nvSpPr>
        <dsp:cNvPr id="0" name=""/>
        <dsp:cNvSpPr/>
      </dsp:nvSpPr>
      <dsp:spPr>
        <a:xfrm>
          <a:off x="1284554" y="1999808"/>
          <a:ext cx="9462341" cy="559193"/>
        </a:xfrm>
        <a:custGeom>
          <a:avLst/>
          <a:gdLst/>
          <a:ahLst/>
          <a:cxnLst/>
          <a:rect l="0" t="0" r="0" b="0"/>
          <a:pathLst>
            <a:path>
              <a:moveTo>
                <a:pt x="9462341" y="0"/>
              </a:moveTo>
              <a:lnTo>
                <a:pt x="9462341" y="296696"/>
              </a:lnTo>
              <a:lnTo>
                <a:pt x="0" y="296696"/>
              </a:lnTo>
              <a:lnTo>
                <a:pt x="0" y="559193"/>
              </a:lnTo>
            </a:path>
          </a:pathLst>
        </a:custGeom>
        <a:noFill/>
        <a:ln w="6350" cap="flat" cmpd="sng" algn="ctr">
          <a:solidFill>
            <a:schemeClr val="tx1"/>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778707" y="2276456"/>
        <a:ext cx="474035" cy="5897"/>
      </dsp:txXfrm>
    </dsp:sp>
    <dsp:sp modelId="{E496208A-E1D6-4E37-9BC4-075FDA869826}">
      <dsp:nvSpPr>
        <dsp:cNvPr id="0" name=""/>
        <dsp:cNvSpPr/>
      </dsp:nvSpPr>
      <dsp:spPr>
        <a:xfrm>
          <a:off x="9464735" y="463016"/>
          <a:ext cx="2564320" cy="1538592"/>
        </a:xfrm>
        <a:prstGeom prst="rect">
          <a:avLst/>
        </a:prstGeom>
        <a:solidFill>
          <a:srgbClr val="4AAEFF"/>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5654" tIns="131896" rIns="125654" bIns="131896"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latin typeface="Century Gothic" pitchFamily="34" charset="0"/>
            </a:rPr>
            <a:t>We ensure a dedicated Merchandising and Quality Assurance team.</a:t>
          </a:r>
        </a:p>
      </dsp:txBody>
      <dsp:txXfrm>
        <a:off x="9464735" y="463016"/>
        <a:ext cx="2564320" cy="1538592"/>
      </dsp:txXfrm>
    </dsp:sp>
    <dsp:sp modelId="{0449E07A-CEBD-4275-9C2B-CD77C2BFA171}">
      <dsp:nvSpPr>
        <dsp:cNvPr id="0" name=""/>
        <dsp:cNvSpPr/>
      </dsp:nvSpPr>
      <dsp:spPr>
        <a:xfrm>
          <a:off x="2564914" y="3314978"/>
          <a:ext cx="559193" cy="91440"/>
        </a:xfrm>
        <a:custGeom>
          <a:avLst/>
          <a:gdLst/>
          <a:ahLst/>
          <a:cxnLst/>
          <a:rect l="0" t="0" r="0" b="0"/>
          <a:pathLst>
            <a:path>
              <a:moveTo>
                <a:pt x="0" y="45720"/>
              </a:moveTo>
              <a:lnTo>
                <a:pt x="559193" y="45720"/>
              </a:lnTo>
            </a:path>
          </a:pathLst>
        </a:custGeom>
        <a:noFill/>
        <a:ln w="6350" cap="flat" cmpd="sng" algn="ctr">
          <a:solidFill>
            <a:schemeClr val="tx1"/>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829766" y="3357749"/>
        <a:ext cx="29489" cy="5897"/>
      </dsp:txXfrm>
    </dsp:sp>
    <dsp:sp modelId="{AE978E2D-38E4-4363-B5AE-D3601980C51B}">
      <dsp:nvSpPr>
        <dsp:cNvPr id="0" name=""/>
        <dsp:cNvSpPr/>
      </dsp:nvSpPr>
      <dsp:spPr>
        <a:xfrm>
          <a:off x="2393" y="2591402"/>
          <a:ext cx="2564320" cy="1538592"/>
        </a:xfrm>
        <a:prstGeom prst="rect">
          <a:avLst/>
        </a:prstGeom>
        <a:solidFill>
          <a:srgbClr val="4AAEFF"/>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5654" tIns="131896" rIns="125654" bIns="131896"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latin typeface="Century Gothic" pitchFamily="34" charset="0"/>
            </a:rPr>
            <a:t>We offer an affordable price.</a:t>
          </a:r>
        </a:p>
      </dsp:txBody>
      <dsp:txXfrm>
        <a:off x="2393" y="2591402"/>
        <a:ext cx="2564320" cy="1538592"/>
      </dsp:txXfrm>
    </dsp:sp>
    <dsp:sp modelId="{D1C63A87-D167-4D32-AEFB-9CC67CC333C3}">
      <dsp:nvSpPr>
        <dsp:cNvPr id="0" name=""/>
        <dsp:cNvSpPr/>
      </dsp:nvSpPr>
      <dsp:spPr>
        <a:xfrm>
          <a:off x="5719028" y="3314978"/>
          <a:ext cx="559193" cy="91440"/>
        </a:xfrm>
        <a:custGeom>
          <a:avLst/>
          <a:gdLst/>
          <a:ahLst/>
          <a:cxnLst/>
          <a:rect l="0" t="0" r="0" b="0"/>
          <a:pathLst>
            <a:path>
              <a:moveTo>
                <a:pt x="0" y="45720"/>
              </a:moveTo>
              <a:lnTo>
                <a:pt x="559193" y="45720"/>
              </a:lnTo>
            </a:path>
          </a:pathLst>
        </a:custGeom>
        <a:noFill/>
        <a:ln w="6350" cap="flat" cmpd="sng" algn="ctr">
          <a:solidFill>
            <a:schemeClr val="tx1"/>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983880" y="3357749"/>
        <a:ext cx="29489" cy="5897"/>
      </dsp:txXfrm>
    </dsp:sp>
    <dsp:sp modelId="{C51E2F3C-2D57-443E-8595-38DFEAD5F811}">
      <dsp:nvSpPr>
        <dsp:cNvPr id="0" name=""/>
        <dsp:cNvSpPr/>
      </dsp:nvSpPr>
      <dsp:spPr>
        <a:xfrm>
          <a:off x="3156507" y="2591402"/>
          <a:ext cx="2564320" cy="1538592"/>
        </a:xfrm>
        <a:prstGeom prst="rect">
          <a:avLst/>
        </a:prstGeom>
        <a:solidFill>
          <a:srgbClr val="4AAEFF"/>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5654" tIns="131896" rIns="125654" bIns="131896"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latin typeface="Century Gothic" pitchFamily="34" charset="0"/>
            </a:rPr>
            <a:t>We are committed to providing our customers timely deliveries with high product quality assured.</a:t>
          </a:r>
        </a:p>
      </dsp:txBody>
      <dsp:txXfrm>
        <a:off x="3156507" y="2591402"/>
        <a:ext cx="2564320" cy="1538592"/>
      </dsp:txXfrm>
    </dsp:sp>
    <dsp:sp modelId="{510145F6-B7A4-4AF1-9C3F-2EF5845B9060}">
      <dsp:nvSpPr>
        <dsp:cNvPr id="0" name=""/>
        <dsp:cNvSpPr/>
      </dsp:nvSpPr>
      <dsp:spPr>
        <a:xfrm>
          <a:off x="6310621" y="2591402"/>
          <a:ext cx="2564320" cy="1538592"/>
        </a:xfrm>
        <a:prstGeom prst="rect">
          <a:avLst/>
        </a:prstGeom>
        <a:solidFill>
          <a:srgbClr val="4AAEFF"/>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5654" tIns="131896" rIns="125654" bIns="131896"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latin typeface="Century Gothic" pitchFamily="34" charset="0"/>
            </a:rPr>
            <a:t>Our team can guarantee you the right people to negotiate and establish a solid trust between both parts.</a:t>
          </a:r>
        </a:p>
      </dsp:txBody>
      <dsp:txXfrm>
        <a:off x="6310621" y="2591402"/>
        <a:ext cx="2564320" cy="1538592"/>
      </dsp:txXfrm>
    </dsp:sp>
  </dsp:spTree>
</dsp:drawing>
</file>

<file path=ppt/diagrams/layout1.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4CCFBE2-2B8D-499C-81C9-2CD5B3EB8E93}" type="datetimeFigureOut">
              <a:rPr lang="ko-KR" altLang="en-US" smtClean="0"/>
              <a:pPr/>
              <a:t>2023-02-22</a:t>
            </a:fld>
            <a:endParaRPr lang="ko-KR" altLang="en-US"/>
          </a:p>
        </p:txBody>
      </p:sp>
      <p:sp>
        <p:nvSpPr>
          <p:cNvPr id="4" name="바닥글 개체 틀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ltLang="ko-KR"/>
              <a:t>Textile Fusion Limited</a:t>
            </a:r>
            <a:endParaRPr lang="ko-KR" altLang="en-US"/>
          </a:p>
        </p:txBody>
      </p:sp>
      <p:sp>
        <p:nvSpPr>
          <p:cNvPr id="5" name="슬라이드 번호 개체 틀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554DD7E-3179-445A-81DB-781C4554AFF2}" type="slidenum">
              <a:rPr lang="ko-KR" altLang="en-US" smtClean="0"/>
              <a:pPr/>
              <a:t>‹#›</a:t>
            </a:fld>
            <a:endParaRPr lang="ko-KR" altLang="en-US"/>
          </a:p>
        </p:txBody>
      </p:sp>
    </p:spTree>
    <p:extLst>
      <p:ext uri="{BB962C8B-B14F-4D97-AF65-F5344CB8AC3E}">
        <p14:creationId xmlns:p14="http://schemas.microsoft.com/office/powerpoint/2010/main" val="246953669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B545AC5-813F-4ED1-B011-8EA17CB93331}" type="datetimeFigureOut">
              <a:rPr lang="ko-KR" altLang="en-US" smtClean="0"/>
              <a:pPr/>
              <a:t>2023-02-22</a:t>
            </a:fld>
            <a:endParaRPr lang="ko-KR" altLang="en-US"/>
          </a:p>
        </p:txBody>
      </p:sp>
      <p:sp>
        <p:nvSpPr>
          <p:cNvPr id="4" name="슬라이드 이미지 개체 틀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6" name="바닥글 개체 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US" altLang="ko-KR"/>
              <a:t>Textile Fusion Limited</a:t>
            </a:r>
            <a:endParaRPr lang="ko-KR" altLang="en-US"/>
          </a:p>
        </p:txBody>
      </p:sp>
      <p:sp>
        <p:nvSpPr>
          <p:cNvPr id="7" name="슬라이드 번호 개체 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5504B90-27FD-422C-8CC6-2AADAD122D08}" type="slidenum">
              <a:rPr lang="ko-KR" altLang="en-US" smtClean="0"/>
              <a:pPr/>
              <a:t>‹#›</a:t>
            </a:fld>
            <a:endParaRPr lang="ko-KR" altLang="en-US"/>
          </a:p>
        </p:txBody>
      </p:sp>
    </p:spTree>
    <p:extLst>
      <p:ext uri="{BB962C8B-B14F-4D97-AF65-F5344CB8AC3E}">
        <p14:creationId xmlns:p14="http://schemas.microsoft.com/office/powerpoint/2010/main" val="268707270"/>
      </p:ext>
    </p:extLst>
  </p:cSld>
  <p:clrMap bg1="lt1" tx1="dk1" bg2="lt2" tx2="dk2" accent1="accent1" accent2="accent2" accent3="accent3" accent4="accent4" accent5="accent5" accent6="accent6" hlink="hlink" folHlink="folHlink"/>
  <p:hf hdr="0" dt="0"/>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unsplash.com/photos/m5P0c6ABWD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5DEA89-15FB-4856-B5A4-4562BC60F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r>
              <a:rPr lang="en-US" altLang="ko-KR"/>
              <a:t>Textile Fusion Limited</a:t>
            </a:r>
            <a:endParaRPr lang="ko-KR" altLang="en-US"/>
          </a:p>
        </p:txBody>
      </p:sp>
    </p:spTree>
    <p:extLst>
      <p:ext uri="{BB962C8B-B14F-4D97-AF65-F5344CB8AC3E}">
        <p14:creationId xmlns:p14="http://schemas.microsoft.com/office/powerpoint/2010/main" val="3673552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unsplash.com/photos/KqVHRmHVwwM</a:t>
            </a:r>
          </a:p>
          <a:p>
            <a:r>
              <a:rPr lang="en-US" dirty="0"/>
              <a:t>https://unsplash.com/photos/1trRa_xcEH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5DEA89-15FB-4856-B5A4-4562BC60F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r>
              <a:rPr lang="en-US" altLang="ko-KR"/>
              <a:t>Textile Fusion Limited</a:t>
            </a:r>
            <a:endParaRPr lang="ko-KR" altLang="en-US"/>
          </a:p>
        </p:txBody>
      </p:sp>
    </p:spTree>
    <p:extLst>
      <p:ext uri="{BB962C8B-B14F-4D97-AF65-F5344CB8AC3E}">
        <p14:creationId xmlns:p14="http://schemas.microsoft.com/office/powerpoint/2010/main" val="1772964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emf"/><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6.v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7.vml"/><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8.v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image" Target="../media/image16.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날짜 개체 틀 3"/>
          <p:cNvSpPr>
            <a:spLocks noGrp="1"/>
          </p:cNvSpPr>
          <p:nvPr>
            <p:ph type="dt" sz="half" idx="10"/>
          </p:nvPr>
        </p:nvSpPr>
        <p:spPr/>
        <p:txBody>
          <a:bodyPr/>
          <a:lstStyle>
            <a:lvl1pPr>
              <a:defRPr baseline="0">
                <a:latin typeface="Calibri" panose="020F0502020204030204" pitchFamily="34" charset="0"/>
              </a:defRPr>
            </a:lvl1pPr>
          </a:lstStyle>
          <a:p>
            <a:fld id="{5391A1F7-3688-4325-BE5E-1F72D4F41CA5}" type="datetime1">
              <a:rPr lang="en-US" altLang="ko-KR" smtClean="0"/>
              <a:pPr/>
              <a:t>2/22/2023</a:t>
            </a:fld>
            <a:endParaRPr lang="ko-KR" altLang="en-US"/>
          </a:p>
        </p:txBody>
      </p:sp>
      <p:sp>
        <p:nvSpPr>
          <p:cNvPr id="5" name="바닥글 개체 틀 4"/>
          <p:cNvSpPr>
            <a:spLocks noGrp="1"/>
          </p:cNvSpPr>
          <p:nvPr>
            <p:ph type="ftr" sz="quarter" idx="11"/>
          </p:nvPr>
        </p:nvSpPr>
        <p:spPr/>
        <p:txBody>
          <a:bodyPr/>
          <a:lstStyle>
            <a:lvl1pPr>
              <a:defRPr baseline="0">
                <a:latin typeface="Calibri" panose="020F0502020204030204" pitchFamily="34" charset="0"/>
              </a:defRPr>
            </a:lvl1pPr>
          </a:lstStyle>
          <a:p>
            <a:r>
              <a:rPr lang="en-US" altLang="ko-KR"/>
              <a:t>Textile Fusion Limited </a:t>
            </a:r>
            <a:endParaRPr lang="ko-KR" altLang="en-US"/>
          </a:p>
        </p:txBody>
      </p:sp>
      <p:sp>
        <p:nvSpPr>
          <p:cNvPr id="6" name="슬라이드 번호 개체 틀 5"/>
          <p:cNvSpPr>
            <a:spLocks noGrp="1"/>
          </p:cNvSpPr>
          <p:nvPr>
            <p:ph type="sldNum" sz="quarter" idx="12"/>
          </p:nvPr>
        </p:nvSpPr>
        <p:spPr/>
        <p:txBody>
          <a:bodyPr/>
          <a:lstStyle>
            <a:lvl1pPr>
              <a:defRPr baseline="0">
                <a:latin typeface="Calibri" panose="020F0502020204030204" pitchFamily="34" charset="0"/>
              </a:defRPr>
            </a:lvl1pPr>
          </a:lstStyle>
          <a:p>
            <a:fld id="{EE6BC638-39B7-4287-91A7-2A3DDA573295}" type="slidenum">
              <a:rPr lang="ko-KR" altLang="en-US" smtClean="0"/>
              <a:pPr/>
              <a:t>‹#›</a:t>
            </a:fld>
            <a:endParaRPr lang="ko-KR" altLang="en-US"/>
          </a:p>
        </p:txBody>
      </p:sp>
      <p:sp>
        <p:nvSpPr>
          <p:cNvPr id="9" name="제목 1"/>
          <p:cNvSpPr>
            <a:spLocks noGrp="1"/>
          </p:cNvSpPr>
          <p:nvPr>
            <p:ph type="ctrTitle"/>
          </p:nvPr>
        </p:nvSpPr>
        <p:spPr>
          <a:xfrm>
            <a:off x="6192011" y="2491737"/>
            <a:ext cx="5472608" cy="1585337"/>
          </a:xfrm>
          <a:noFill/>
          <a:ln w="9525">
            <a:noFill/>
            <a:miter lim="800000"/>
            <a:headEnd/>
            <a:tailEnd/>
          </a:ln>
        </p:spPr>
        <p:txBody>
          <a:bodyPr vert="horz" wrap="square" lIns="91440" tIns="45720" rIns="91440" bIns="45720" numCol="1" rtlCol="0" anchor="ctr" anchorCtr="0" compatLnSpc="1">
            <a:prstTxWarp prst="textNoShape">
              <a:avLst/>
            </a:prstTxWarp>
            <a:noAutofit/>
          </a:bodyPr>
          <a:lstStyle>
            <a:lvl1pPr marL="0" indent="0" algn="l" defTabSz="685800" rtl="0" eaLnBrk="1" fontAlgn="base" latinLnBrk="1" hangingPunct="1">
              <a:lnSpc>
                <a:spcPct val="100000"/>
              </a:lnSpc>
              <a:spcBef>
                <a:spcPct val="0"/>
              </a:spcBef>
              <a:spcAft>
                <a:spcPct val="0"/>
              </a:spcAft>
              <a:buClr>
                <a:schemeClr val="hlink"/>
              </a:buClr>
              <a:buFont typeface="굴림체" pitchFamily="49" charset="-127"/>
              <a:buNone/>
              <a:defRPr lang="ko-KR" altLang="en-US" sz="4050" kern="1200" baseline="0" dirty="0">
                <a:solidFill>
                  <a:srgbClr val="2D2F2D"/>
                </a:solidFill>
                <a:effectLst/>
                <a:latin typeface="Calibri" panose="020F0502020204030204" pitchFamily="34" charset="0"/>
                <a:ea typeface="맑은 고딕" pitchFamily="50" charset="-127"/>
                <a:cs typeface="+mj-cs"/>
              </a:defRPr>
            </a:lvl1pPr>
          </a:lstStyle>
          <a:p>
            <a:endParaRPr lang="ko-KR"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4"/>
          <p:cNvSpPr>
            <a:spLocks noGrp="1"/>
          </p:cNvSpPr>
          <p:nvPr>
            <p:ph type="body" sz="quarter" idx="14"/>
          </p:nvPr>
        </p:nvSpPr>
        <p:spPr>
          <a:xfrm>
            <a:off x="563035" y="762004"/>
            <a:ext cx="11068061" cy="404761"/>
          </a:xfrm>
          <a:prstGeom prst="rect">
            <a:avLst/>
          </a:prstGeom>
        </p:spPr>
        <p:txBody>
          <a:bodyPr lIns="0" anchor="ctr">
            <a:noAutofit/>
          </a:bodyPr>
          <a:lstStyle>
            <a:lvl1pPr>
              <a:buFontTx/>
              <a:buNone/>
              <a:defRPr sz="1200" b="1">
                <a:solidFill>
                  <a:srgbClr val="7F7F7F"/>
                </a:solidFill>
              </a:defRPr>
            </a:lvl1pPr>
          </a:lstStyle>
          <a:p>
            <a:pPr lvl="0"/>
            <a:r>
              <a:rPr lang="en-US" dirty="0"/>
              <a:t>Click to edit Master text styles</a:t>
            </a:r>
          </a:p>
        </p:txBody>
      </p:sp>
    </p:spTree>
    <p:extLst>
      <p:ext uri="{BB962C8B-B14F-4D97-AF65-F5344CB8AC3E}">
        <p14:creationId xmlns:p14="http://schemas.microsoft.com/office/powerpoint/2010/main" val="24418951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274326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80890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4626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4"/>
            <a:ext cx="2844800" cy="365125"/>
          </a:xfrm>
          <a:prstGeom prst="rect">
            <a:avLst/>
          </a:prstGeom>
        </p:spPr>
        <p:txBody>
          <a:bodyPr/>
          <a:lstStyle/>
          <a:p>
            <a:fld id="{79CDCFAA-ECCF-417F-9FEE-69F63A56D7CB}" type="datetime1">
              <a:rPr lang="en-US" smtClean="0"/>
              <a:pPr/>
              <a:t>2/22/2023</a:t>
            </a:fld>
            <a:endParaRPr lang="en-US" dirty="0"/>
          </a:p>
        </p:txBody>
      </p:sp>
      <p:sp>
        <p:nvSpPr>
          <p:cNvPr id="5" name="Footer Placeholder 4"/>
          <p:cNvSpPr>
            <a:spLocks noGrp="1"/>
          </p:cNvSpPr>
          <p:nvPr>
            <p:ph type="ftr" sz="quarter" idx="11"/>
          </p:nvPr>
        </p:nvSpPr>
        <p:spPr>
          <a:xfrm>
            <a:off x="4165600" y="6356354"/>
            <a:ext cx="3860800" cy="365125"/>
          </a:xfrm>
          <a:prstGeom prst="rect">
            <a:avLst/>
          </a:prstGeom>
        </p:spPr>
        <p:txBody>
          <a:bodyPr/>
          <a:lstStyle/>
          <a:p>
            <a:r>
              <a:rPr lang="en-US"/>
              <a:t>Textile Fusion Limited </a:t>
            </a:r>
            <a:endParaRPr lang="en-US" dirty="0"/>
          </a:p>
        </p:txBody>
      </p:sp>
      <p:sp>
        <p:nvSpPr>
          <p:cNvPr id="6" name="Slide Number Placeholder 5"/>
          <p:cNvSpPr>
            <a:spLocks noGrp="1"/>
          </p:cNvSpPr>
          <p:nvPr>
            <p:ph type="sldNum" sz="quarter" idx="12"/>
          </p:nvPr>
        </p:nvSpPr>
        <p:spPr>
          <a:xfrm>
            <a:off x="8737600" y="6356354"/>
            <a:ext cx="2844800" cy="365125"/>
          </a:xfrm>
          <a:prstGeom prst="rect">
            <a:avLst/>
          </a:prstGeom>
        </p:spPr>
        <p:txBody>
          <a:bodyPr/>
          <a:lstStyle/>
          <a:p>
            <a:fld id="{336AA8AB-9174-45BB-8513-C58248B4B042}" type="slidenum">
              <a:rPr lang="en-US" smtClean="0"/>
              <a:pPr/>
              <a:t>‹#›</a:t>
            </a:fld>
            <a:endParaRPr lang="en-US" dirty="0"/>
          </a:p>
        </p:txBody>
      </p:sp>
    </p:spTree>
    <p:extLst>
      <p:ext uri="{BB962C8B-B14F-4D97-AF65-F5344CB8AC3E}">
        <p14:creationId xmlns:p14="http://schemas.microsoft.com/office/powerpoint/2010/main" val="26801079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B494D4A5-F03E-4980-A019-AA27194815FC}"/>
              </a:ext>
            </a:extLst>
          </p:cNvPr>
          <p:cNvPicPr>
            <a:picLocks noChangeAspect="1"/>
          </p:cNvPicPr>
          <p:nvPr userDrawn="1"/>
        </p:nvPicPr>
        <p:blipFill rotWithShape="1">
          <a:blip r:embed="rId4">
            <a:duotone>
              <a:schemeClr val="bg2">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t="184" b="184"/>
          <a:stretch/>
        </p:blipFill>
        <p:spPr>
          <a:xfrm>
            <a:off x="-1" y="0"/>
            <a:ext cx="12192001" cy="6858000"/>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2165" y="1627"/>
          <a:ext cx="2159" cy="1619"/>
        </p:xfrm>
        <a:graphic>
          <a:graphicData uri="http://schemas.openxmlformats.org/presentationml/2006/ole">
            <mc:AlternateContent xmlns:mc="http://schemas.openxmlformats.org/markup-compatibility/2006">
              <mc:Choice xmlns:v="urn:schemas-microsoft-com:vml" Requires="v">
                <p:oleObj spid="_x0000_s12380" name="think-cell Slide" r:id="rId6" imgW="270" imgH="270" progId="">
                  <p:embed/>
                </p:oleObj>
              </mc:Choice>
              <mc:Fallback>
                <p:oleObj name="think-cell Slide" r:id="rId6" imgW="270" imgH="270" progId="">
                  <p:embed/>
                  <p:pic>
                    <p:nvPicPr>
                      <p:cNvPr id="0" name="Picture 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65" y="1627"/>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7" name="Document type" hidden="1"/>
          <p:cNvSpPr txBox="1">
            <a:spLocks noChangeArrowheads="1"/>
          </p:cNvSpPr>
          <p:nvPr userDrawn="1"/>
        </p:nvSpPr>
        <p:spPr bwMode="auto">
          <a:xfrm>
            <a:off x="595162" y="1858544"/>
            <a:ext cx="6908955" cy="121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88" b="0" baseline="0" dirty="0">
                <a:solidFill>
                  <a:schemeClr val="tx1"/>
                </a:solidFill>
                <a:latin typeface="+mn-lt"/>
              </a:rPr>
              <a:t>Document type | Date</a:t>
            </a:r>
          </a:p>
        </p:txBody>
      </p:sp>
      <p:sp>
        <p:nvSpPr>
          <p:cNvPr id="45" name="Freeform: Shape 44">
            <a:extLst>
              <a:ext uri="{FF2B5EF4-FFF2-40B4-BE49-F238E27FC236}">
                <a16:creationId xmlns:a16="http://schemas.microsoft.com/office/drawing/2014/main" id="{7C010C59-D0F4-4FE8-88B7-4FF5E14B067C}"/>
              </a:ext>
            </a:extLst>
          </p:cNvPr>
          <p:cNvSpPr/>
          <p:nvPr userDrawn="1"/>
        </p:nvSpPr>
        <p:spPr>
          <a:xfrm>
            <a:off x="0" y="0"/>
            <a:ext cx="12192000" cy="6858000"/>
          </a:xfrm>
          <a:custGeom>
            <a:avLst/>
            <a:gdLst>
              <a:gd name="connsiteX0" fmla="*/ 1429139 w 12192000"/>
              <a:gd name="connsiteY0" fmla="*/ 6161467 h 6858000"/>
              <a:gd name="connsiteX1" fmla="*/ 1102568 w 12192000"/>
              <a:gd name="connsiteY1" fmla="*/ 6488038 h 6858000"/>
              <a:gd name="connsiteX2" fmla="*/ 1429139 w 12192000"/>
              <a:gd name="connsiteY2" fmla="*/ 6814609 h 6858000"/>
              <a:gd name="connsiteX3" fmla="*/ 1755710 w 12192000"/>
              <a:gd name="connsiteY3" fmla="*/ 6488038 h 6858000"/>
              <a:gd name="connsiteX4" fmla="*/ 1429139 w 12192000"/>
              <a:gd name="connsiteY4" fmla="*/ 6161467 h 6858000"/>
              <a:gd name="connsiteX5" fmla="*/ 8162314 w 12192000"/>
              <a:gd name="connsiteY5" fmla="*/ 5649061 h 6858000"/>
              <a:gd name="connsiteX6" fmla="*/ 8036905 w 12192000"/>
              <a:gd name="connsiteY6" fmla="*/ 5701007 h 6858000"/>
              <a:gd name="connsiteX7" fmla="*/ 7335995 w 12192000"/>
              <a:gd name="connsiteY7" fmla="*/ 6401917 h 6858000"/>
              <a:gd name="connsiteX8" fmla="*/ 7335995 w 12192000"/>
              <a:gd name="connsiteY8" fmla="*/ 6652735 h 6858000"/>
              <a:gd name="connsiteX9" fmla="*/ 7357954 w 12192000"/>
              <a:gd name="connsiteY9" fmla="*/ 6674694 h 6858000"/>
              <a:gd name="connsiteX10" fmla="*/ 7608772 w 12192000"/>
              <a:gd name="connsiteY10" fmla="*/ 6674694 h 6858000"/>
              <a:gd name="connsiteX11" fmla="*/ 8309682 w 12192000"/>
              <a:gd name="connsiteY11" fmla="*/ 5973784 h 6858000"/>
              <a:gd name="connsiteX12" fmla="*/ 8309682 w 12192000"/>
              <a:gd name="connsiteY12" fmla="*/ 5722966 h 6858000"/>
              <a:gd name="connsiteX13" fmla="*/ 8287723 w 12192000"/>
              <a:gd name="connsiteY13" fmla="*/ 5701007 h 6858000"/>
              <a:gd name="connsiteX14" fmla="*/ 8162314 w 12192000"/>
              <a:gd name="connsiteY14" fmla="*/ 5649061 h 6858000"/>
              <a:gd name="connsiteX15" fmla="*/ 899628 w 12192000"/>
              <a:gd name="connsiteY15" fmla="*/ 5446562 h 6858000"/>
              <a:gd name="connsiteX16" fmla="*/ 573057 w 12192000"/>
              <a:gd name="connsiteY16" fmla="*/ 5773133 h 6858000"/>
              <a:gd name="connsiteX17" fmla="*/ 899628 w 12192000"/>
              <a:gd name="connsiteY17" fmla="*/ 6099704 h 6858000"/>
              <a:gd name="connsiteX18" fmla="*/ 1226199 w 12192000"/>
              <a:gd name="connsiteY18" fmla="*/ 5773133 h 6858000"/>
              <a:gd name="connsiteX19" fmla="*/ 899628 w 12192000"/>
              <a:gd name="connsiteY19" fmla="*/ 5446562 h 6858000"/>
              <a:gd name="connsiteX20" fmla="*/ 370117 w 12192000"/>
              <a:gd name="connsiteY20" fmla="*/ 4731656 h 6858000"/>
              <a:gd name="connsiteX21" fmla="*/ 43547 w 12192000"/>
              <a:gd name="connsiteY21" fmla="*/ 5058227 h 6858000"/>
              <a:gd name="connsiteX22" fmla="*/ 370117 w 12192000"/>
              <a:gd name="connsiteY22" fmla="*/ 5384798 h 6858000"/>
              <a:gd name="connsiteX23" fmla="*/ 696689 w 12192000"/>
              <a:gd name="connsiteY23" fmla="*/ 5058227 h 6858000"/>
              <a:gd name="connsiteX24" fmla="*/ 370117 w 12192000"/>
              <a:gd name="connsiteY24" fmla="*/ 4731656 h 6858000"/>
              <a:gd name="connsiteX25" fmla="*/ 8139025 w 12192000"/>
              <a:gd name="connsiteY25" fmla="*/ 4569563 h 6858000"/>
              <a:gd name="connsiteX26" fmla="*/ 8013616 w 12192000"/>
              <a:gd name="connsiteY26" fmla="*/ 4621508 h 6858000"/>
              <a:gd name="connsiteX27" fmla="*/ 6236292 w 12192000"/>
              <a:gd name="connsiteY27" fmla="*/ 6398833 h 6858000"/>
              <a:gd name="connsiteX28" fmla="*/ 6236292 w 12192000"/>
              <a:gd name="connsiteY28" fmla="*/ 6649651 h 6858000"/>
              <a:gd name="connsiteX29" fmla="*/ 6258251 w 12192000"/>
              <a:gd name="connsiteY29" fmla="*/ 6671610 h 6858000"/>
              <a:gd name="connsiteX30" fmla="*/ 6509069 w 12192000"/>
              <a:gd name="connsiteY30" fmla="*/ 6671610 h 6858000"/>
              <a:gd name="connsiteX31" fmla="*/ 8286393 w 12192000"/>
              <a:gd name="connsiteY31" fmla="*/ 4894285 h 6858000"/>
              <a:gd name="connsiteX32" fmla="*/ 8286393 w 12192000"/>
              <a:gd name="connsiteY32" fmla="*/ 4643467 h 6858000"/>
              <a:gd name="connsiteX33" fmla="*/ 8264434 w 12192000"/>
              <a:gd name="connsiteY33" fmla="*/ 4621508 h 6858000"/>
              <a:gd name="connsiteX34" fmla="*/ 8139025 w 12192000"/>
              <a:gd name="connsiteY34" fmla="*/ 4569563 h 6858000"/>
              <a:gd name="connsiteX35" fmla="*/ 7618325 w 12192000"/>
              <a:gd name="connsiteY35" fmla="*/ 3939483 h 6858000"/>
              <a:gd name="connsiteX36" fmla="*/ 7492916 w 12192000"/>
              <a:gd name="connsiteY36" fmla="*/ 3991429 h 6858000"/>
              <a:gd name="connsiteX37" fmla="*/ 5016683 w 12192000"/>
              <a:gd name="connsiteY37" fmla="*/ 6467663 h 6858000"/>
              <a:gd name="connsiteX38" fmla="*/ 5016683 w 12192000"/>
              <a:gd name="connsiteY38" fmla="*/ 6718481 h 6858000"/>
              <a:gd name="connsiteX39" fmla="*/ 5038642 w 12192000"/>
              <a:gd name="connsiteY39" fmla="*/ 6740440 h 6858000"/>
              <a:gd name="connsiteX40" fmla="*/ 5289460 w 12192000"/>
              <a:gd name="connsiteY40" fmla="*/ 6740440 h 6858000"/>
              <a:gd name="connsiteX41" fmla="*/ 7765693 w 12192000"/>
              <a:gd name="connsiteY41" fmla="*/ 4264206 h 6858000"/>
              <a:gd name="connsiteX42" fmla="*/ 7765693 w 12192000"/>
              <a:gd name="connsiteY42" fmla="*/ 4013388 h 6858000"/>
              <a:gd name="connsiteX43" fmla="*/ 7743734 w 12192000"/>
              <a:gd name="connsiteY43" fmla="*/ 3991429 h 6858000"/>
              <a:gd name="connsiteX44" fmla="*/ 7618325 w 12192000"/>
              <a:gd name="connsiteY44" fmla="*/ 3939483 h 6858000"/>
              <a:gd name="connsiteX45" fmla="*/ 10089754 w 12192000"/>
              <a:gd name="connsiteY45" fmla="*/ 3704146 h 6858000"/>
              <a:gd name="connsiteX46" fmla="*/ 9964345 w 12192000"/>
              <a:gd name="connsiteY46" fmla="*/ 3756091 h 6858000"/>
              <a:gd name="connsiteX47" fmla="*/ 8460165 w 12192000"/>
              <a:gd name="connsiteY47" fmla="*/ 5260272 h 6858000"/>
              <a:gd name="connsiteX48" fmla="*/ 8460165 w 12192000"/>
              <a:gd name="connsiteY48" fmla="*/ 5511090 h 6858000"/>
              <a:gd name="connsiteX49" fmla="*/ 8482124 w 12192000"/>
              <a:gd name="connsiteY49" fmla="*/ 5533049 h 6858000"/>
              <a:gd name="connsiteX50" fmla="*/ 8732942 w 12192000"/>
              <a:gd name="connsiteY50" fmla="*/ 5533049 h 6858000"/>
              <a:gd name="connsiteX51" fmla="*/ 10237122 w 12192000"/>
              <a:gd name="connsiteY51" fmla="*/ 4028868 h 6858000"/>
              <a:gd name="connsiteX52" fmla="*/ 10237122 w 12192000"/>
              <a:gd name="connsiteY52" fmla="*/ 3778051 h 6858000"/>
              <a:gd name="connsiteX53" fmla="*/ 10215163 w 12192000"/>
              <a:gd name="connsiteY53" fmla="*/ 3756091 h 6858000"/>
              <a:gd name="connsiteX54" fmla="*/ 10089754 w 12192000"/>
              <a:gd name="connsiteY54" fmla="*/ 3704146 h 6858000"/>
              <a:gd name="connsiteX55" fmla="*/ 10041065 w 12192000"/>
              <a:gd name="connsiteY55" fmla="*/ 2624647 h 6858000"/>
              <a:gd name="connsiteX56" fmla="*/ 9915656 w 12192000"/>
              <a:gd name="connsiteY56" fmla="*/ 2676593 h 6858000"/>
              <a:gd name="connsiteX57" fmla="*/ 8411476 w 12192000"/>
              <a:gd name="connsiteY57" fmla="*/ 4180773 h 6858000"/>
              <a:gd name="connsiteX58" fmla="*/ 8411476 w 12192000"/>
              <a:gd name="connsiteY58" fmla="*/ 4431591 h 6858000"/>
              <a:gd name="connsiteX59" fmla="*/ 8433435 w 12192000"/>
              <a:gd name="connsiteY59" fmla="*/ 4453550 h 6858000"/>
              <a:gd name="connsiteX60" fmla="*/ 8684253 w 12192000"/>
              <a:gd name="connsiteY60" fmla="*/ 4453550 h 6858000"/>
              <a:gd name="connsiteX61" fmla="*/ 10188433 w 12192000"/>
              <a:gd name="connsiteY61" fmla="*/ 2949370 h 6858000"/>
              <a:gd name="connsiteX62" fmla="*/ 10188433 w 12192000"/>
              <a:gd name="connsiteY62" fmla="*/ 2698552 h 6858000"/>
              <a:gd name="connsiteX63" fmla="*/ 10166474 w 12192000"/>
              <a:gd name="connsiteY63" fmla="*/ 2676593 h 6858000"/>
              <a:gd name="connsiteX64" fmla="*/ 10041065 w 12192000"/>
              <a:gd name="connsiteY64" fmla="*/ 2624647 h 6858000"/>
              <a:gd name="connsiteX65" fmla="*/ 9520364 w 12192000"/>
              <a:gd name="connsiteY65" fmla="*/ 1994569 h 6858000"/>
              <a:gd name="connsiteX66" fmla="*/ 9394955 w 12192000"/>
              <a:gd name="connsiteY66" fmla="*/ 2046515 h 6858000"/>
              <a:gd name="connsiteX67" fmla="*/ 7890775 w 12192000"/>
              <a:gd name="connsiteY67" fmla="*/ 3550695 h 6858000"/>
              <a:gd name="connsiteX68" fmla="*/ 7890775 w 12192000"/>
              <a:gd name="connsiteY68" fmla="*/ 3801513 h 6858000"/>
              <a:gd name="connsiteX69" fmla="*/ 7912734 w 12192000"/>
              <a:gd name="connsiteY69" fmla="*/ 3823472 h 6858000"/>
              <a:gd name="connsiteX70" fmla="*/ 8163552 w 12192000"/>
              <a:gd name="connsiteY70" fmla="*/ 3823472 h 6858000"/>
              <a:gd name="connsiteX71" fmla="*/ 9667732 w 12192000"/>
              <a:gd name="connsiteY71" fmla="*/ 2319292 h 6858000"/>
              <a:gd name="connsiteX72" fmla="*/ 9667732 w 12192000"/>
              <a:gd name="connsiteY72" fmla="*/ 2068475 h 6858000"/>
              <a:gd name="connsiteX73" fmla="*/ 9645773 w 12192000"/>
              <a:gd name="connsiteY73" fmla="*/ 2046515 h 6858000"/>
              <a:gd name="connsiteX74" fmla="*/ 9520364 w 12192000"/>
              <a:gd name="connsiteY74" fmla="*/ 1994569 h 6858000"/>
              <a:gd name="connsiteX75" fmla="*/ 11974643 w 12192000"/>
              <a:gd name="connsiteY75" fmla="*/ 1766977 h 6858000"/>
              <a:gd name="connsiteX76" fmla="*/ 11849234 w 12192000"/>
              <a:gd name="connsiteY76" fmla="*/ 1818923 h 6858000"/>
              <a:gd name="connsiteX77" fmla="*/ 10345054 w 12192000"/>
              <a:gd name="connsiteY77" fmla="*/ 3323103 h 6858000"/>
              <a:gd name="connsiteX78" fmla="*/ 10345054 w 12192000"/>
              <a:gd name="connsiteY78" fmla="*/ 3573920 h 6858000"/>
              <a:gd name="connsiteX79" fmla="*/ 10367013 w 12192000"/>
              <a:gd name="connsiteY79" fmla="*/ 3595879 h 6858000"/>
              <a:gd name="connsiteX80" fmla="*/ 10617831 w 12192000"/>
              <a:gd name="connsiteY80" fmla="*/ 3595879 h 6858000"/>
              <a:gd name="connsiteX81" fmla="*/ 12122011 w 12192000"/>
              <a:gd name="connsiteY81" fmla="*/ 2091700 h 6858000"/>
              <a:gd name="connsiteX82" fmla="*/ 12122011 w 12192000"/>
              <a:gd name="connsiteY82" fmla="*/ 1840882 h 6858000"/>
              <a:gd name="connsiteX83" fmla="*/ 12100052 w 12192000"/>
              <a:gd name="connsiteY83" fmla="*/ 1818923 h 6858000"/>
              <a:gd name="connsiteX84" fmla="*/ 11974643 w 12192000"/>
              <a:gd name="connsiteY84" fmla="*/ 1766977 h 6858000"/>
              <a:gd name="connsiteX85" fmla="*/ 4017223 w 12192000"/>
              <a:gd name="connsiteY85" fmla="*/ 734456 h 6858000"/>
              <a:gd name="connsiteX86" fmla="*/ 3560024 w 12192000"/>
              <a:gd name="connsiteY86" fmla="*/ 1191656 h 6858000"/>
              <a:gd name="connsiteX87" fmla="*/ 4017223 w 12192000"/>
              <a:gd name="connsiteY87" fmla="*/ 1648856 h 6858000"/>
              <a:gd name="connsiteX88" fmla="*/ 4474421 w 12192000"/>
              <a:gd name="connsiteY88" fmla="*/ 1191656 h 6858000"/>
              <a:gd name="connsiteX89" fmla="*/ 5708917 w 12192000"/>
              <a:gd name="connsiteY89" fmla="*/ 734456 h 6858000"/>
              <a:gd name="connsiteX90" fmla="*/ 5251717 w 12192000"/>
              <a:gd name="connsiteY90" fmla="*/ 1191656 h 6858000"/>
              <a:gd name="connsiteX91" fmla="*/ 5708917 w 12192000"/>
              <a:gd name="connsiteY91" fmla="*/ 1648856 h 6858000"/>
              <a:gd name="connsiteX92" fmla="*/ 6166116 w 12192000"/>
              <a:gd name="connsiteY92" fmla="*/ 1191656 h 6858000"/>
              <a:gd name="connsiteX93" fmla="*/ 7400612 w 12192000"/>
              <a:gd name="connsiteY93" fmla="*/ 734455 h 6858000"/>
              <a:gd name="connsiteX94" fmla="*/ 6943412 w 12192000"/>
              <a:gd name="connsiteY94" fmla="*/ 1191656 h 6858000"/>
              <a:gd name="connsiteX95" fmla="*/ 7400612 w 12192000"/>
              <a:gd name="connsiteY95" fmla="*/ 1648856 h 6858000"/>
              <a:gd name="connsiteX96" fmla="*/ 7857812 w 12192000"/>
              <a:gd name="connsiteY96" fmla="*/ 1191656 h 6858000"/>
              <a:gd name="connsiteX97" fmla="*/ 9092308 w 12192000"/>
              <a:gd name="connsiteY97" fmla="*/ 734455 h 6858000"/>
              <a:gd name="connsiteX98" fmla="*/ 8635108 w 12192000"/>
              <a:gd name="connsiteY98" fmla="*/ 1191655 h 6858000"/>
              <a:gd name="connsiteX99" fmla="*/ 9092308 w 12192000"/>
              <a:gd name="connsiteY99" fmla="*/ 1648855 h 6858000"/>
              <a:gd name="connsiteX100" fmla="*/ 9549508 w 12192000"/>
              <a:gd name="connsiteY100" fmla="*/ 1191655 h 6858000"/>
              <a:gd name="connsiteX101" fmla="*/ 11938654 w 12192000"/>
              <a:gd name="connsiteY101" fmla="*/ 725578 h 6858000"/>
              <a:gd name="connsiteX102" fmla="*/ 11813245 w 12192000"/>
              <a:gd name="connsiteY102" fmla="*/ 777523 h 6858000"/>
              <a:gd name="connsiteX103" fmla="*/ 10309065 w 12192000"/>
              <a:gd name="connsiteY103" fmla="*/ 2281704 h 6858000"/>
              <a:gd name="connsiteX104" fmla="*/ 10309065 w 12192000"/>
              <a:gd name="connsiteY104" fmla="*/ 2532522 h 6858000"/>
              <a:gd name="connsiteX105" fmla="*/ 10331024 w 12192000"/>
              <a:gd name="connsiteY105" fmla="*/ 2554481 h 6858000"/>
              <a:gd name="connsiteX106" fmla="*/ 10581842 w 12192000"/>
              <a:gd name="connsiteY106" fmla="*/ 2554481 h 6858000"/>
              <a:gd name="connsiteX107" fmla="*/ 12086022 w 12192000"/>
              <a:gd name="connsiteY107" fmla="*/ 1050300 h 6858000"/>
              <a:gd name="connsiteX108" fmla="*/ 12086022 w 12192000"/>
              <a:gd name="connsiteY108" fmla="*/ 799483 h 6858000"/>
              <a:gd name="connsiteX109" fmla="*/ 12064063 w 12192000"/>
              <a:gd name="connsiteY109" fmla="*/ 777523 h 6858000"/>
              <a:gd name="connsiteX110" fmla="*/ 11938654 w 12192000"/>
              <a:gd name="connsiteY110" fmla="*/ 725578 h 6858000"/>
              <a:gd name="connsiteX111" fmla="*/ 11405253 w 12192000"/>
              <a:gd name="connsiteY111" fmla="*/ 57401 h 6858000"/>
              <a:gd name="connsiteX112" fmla="*/ 11279844 w 12192000"/>
              <a:gd name="connsiteY112" fmla="*/ 109347 h 6858000"/>
              <a:gd name="connsiteX113" fmla="*/ 9775664 w 12192000"/>
              <a:gd name="connsiteY113" fmla="*/ 1613528 h 6858000"/>
              <a:gd name="connsiteX114" fmla="*/ 9775664 w 12192000"/>
              <a:gd name="connsiteY114" fmla="*/ 1864346 h 6858000"/>
              <a:gd name="connsiteX115" fmla="*/ 9797623 w 12192000"/>
              <a:gd name="connsiteY115" fmla="*/ 1886305 h 6858000"/>
              <a:gd name="connsiteX116" fmla="*/ 10048441 w 12192000"/>
              <a:gd name="connsiteY116" fmla="*/ 1886305 h 6858000"/>
              <a:gd name="connsiteX117" fmla="*/ 11552621 w 12192000"/>
              <a:gd name="connsiteY117" fmla="*/ 382124 h 6858000"/>
              <a:gd name="connsiteX118" fmla="*/ 11552621 w 12192000"/>
              <a:gd name="connsiteY118" fmla="*/ 131306 h 6858000"/>
              <a:gd name="connsiteX119" fmla="*/ 11530662 w 12192000"/>
              <a:gd name="connsiteY119" fmla="*/ 109347 h 6858000"/>
              <a:gd name="connsiteX120" fmla="*/ 11405253 w 12192000"/>
              <a:gd name="connsiteY120" fmla="*/ 57401 h 6858000"/>
              <a:gd name="connsiteX121" fmla="*/ 4 w 12192000"/>
              <a:gd name="connsiteY121" fmla="*/ 2 h 6858000"/>
              <a:gd name="connsiteX122" fmla="*/ 4 w 12192000"/>
              <a:gd name="connsiteY122" fmla="*/ 3090502 h 6858000"/>
              <a:gd name="connsiteX123" fmla="*/ 3090503 w 12192000"/>
              <a:gd name="connsiteY123" fmla="*/ 2 h 6858000"/>
              <a:gd name="connsiteX124" fmla="*/ 3171376 w 12192000"/>
              <a:gd name="connsiteY124" fmla="*/ 2 h 6858000"/>
              <a:gd name="connsiteX125" fmla="*/ 2714176 w 12192000"/>
              <a:gd name="connsiteY125" fmla="*/ 457202 h 6858000"/>
              <a:gd name="connsiteX126" fmla="*/ 3171376 w 12192000"/>
              <a:gd name="connsiteY126" fmla="*/ 914402 h 6858000"/>
              <a:gd name="connsiteX127" fmla="*/ 3628576 w 12192000"/>
              <a:gd name="connsiteY127" fmla="*/ 457202 h 6858000"/>
              <a:gd name="connsiteX128" fmla="*/ 4863069 w 12192000"/>
              <a:gd name="connsiteY128" fmla="*/ 2 h 6858000"/>
              <a:gd name="connsiteX129" fmla="*/ 4405869 w 12192000"/>
              <a:gd name="connsiteY129" fmla="*/ 457202 h 6858000"/>
              <a:gd name="connsiteX130" fmla="*/ 4863069 w 12192000"/>
              <a:gd name="connsiteY130" fmla="*/ 914402 h 6858000"/>
              <a:gd name="connsiteX131" fmla="*/ 5320269 w 12192000"/>
              <a:gd name="connsiteY131" fmla="*/ 457202 h 6858000"/>
              <a:gd name="connsiteX132" fmla="*/ 6554764 w 12192000"/>
              <a:gd name="connsiteY132" fmla="*/ 2 h 6858000"/>
              <a:gd name="connsiteX133" fmla="*/ 6097564 w 12192000"/>
              <a:gd name="connsiteY133" fmla="*/ 457201 h 6858000"/>
              <a:gd name="connsiteX134" fmla="*/ 6554764 w 12192000"/>
              <a:gd name="connsiteY134" fmla="*/ 914401 h 6858000"/>
              <a:gd name="connsiteX135" fmla="*/ 7011964 w 12192000"/>
              <a:gd name="connsiteY135" fmla="*/ 457201 h 6858000"/>
              <a:gd name="connsiteX136" fmla="*/ 8246460 w 12192000"/>
              <a:gd name="connsiteY136" fmla="*/ 1 h 6858000"/>
              <a:gd name="connsiteX137" fmla="*/ 7789260 w 12192000"/>
              <a:gd name="connsiteY137" fmla="*/ 457201 h 6858000"/>
              <a:gd name="connsiteX138" fmla="*/ 8246460 w 12192000"/>
              <a:gd name="connsiteY138" fmla="*/ 914401 h 6858000"/>
              <a:gd name="connsiteX139" fmla="*/ 8703660 w 12192000"/>
              <a:gd name="connsiteY139" fmla="*/ 457201 h 6858000"/>
              <a:gd name="connsiteX140" fmla="*/ 9938152 w 12192000"/>
              <a:gd name="connsiteY140" fmla="*/ 1 h 6858000"/>
              <a:gd name="connsiteX141" fmla="*/ 9480952 w 12192000"/>
              <a:gd name="connsiteY141" fmla="*/ 457201 h 6858000"/>
              <a:gd name="connsiteX142" fmla="*/ 9938152 w 12192000"/>
              <a:gd name="connsiteY142" fmla="*/ 914401 h 6858000"/>
              <a:gd name="connsiteX143" fmla="*/ 10395352 w 12192000"/>
              <a:gd name="connsiteY143" fmla="*/ 457201 h 6858000"/>
              <a:gd name="connsiteX144" fmla="*/ 0 w 12192000"/>
              <a:gd name="connsiteY144" fmla="*/ 0 h 6858000"/>
              <a:gd name="connsiteX145" fmla="*/ 12192000 w 12192000"/>
              <a:gd name="connsiteY145" fmla="*/ 0 h 6858000"/>
              <a:gd name="connsiteX146" fmla="*/ 12192000 w 12192000"/>
              <a:gd name="connsiteY146" fmla="*/ 2431144 h 6858000"/>
              <a:gd name="connsiteX147" fmla="*/ 7765144 w 12192000"/>
              <a:gd name="connsiteY147" fmla="*/ 6858000 h 6858000"/>
              <a:gd name="connsiteX148" fmla="*/ 0 w 12192000"/>
              <a:gd name="connsiteY14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12192000" h="6858000">
                <a:moveTo>
                  <a:pt x="1429139" y="6161467"/>
                </a:moveTo>
                <a:cubicBezTo>
                  <a:pt x="1248779" y="6161467"/>
                  <a:pt x="1102568" y="6307678"/>
                  <a:pt x="1102568" y="6488038"/>
                </a:cubicBezTo>
                <a:cubicBezTo>
                  <a:pt x="1102568" y="6668398"/>
                  <a:pt x="1248779" y="6814609"/>
                  <a:pt x="1429139" y="6814609"/>
                </a:cubicBezTo>
                <a:cubicBezTo>
                  <a:pt x="1609499" y="6814609"/>
                  <a:pt x="1755710" y="6668398"/>
                  <a:pt x="1755710" y="6488038"/>
                </a:cubicBezTo>
                <a:cubicBezTo>
                  <a:pt x="1755710" y="6307678"/>
                  <a:pt x="1609499" y="6161467"/>
                  <a:pt x="1429139" y="6161467"/>
                </a:cubicBezTo>
                <a:close/>
                <a:moveTo>
                  <a:pt x="8162314" y="5649061"/>
                </a:moveTo>
                <a:cubicBezTo>
                  <a:pt x="8116925" y="5649061"/>
                  <a:pt x="8071536" y="5666376"/>
                  <a:pt x="8036905" y="5701007"/>
                </a:cubicBezTo>
                <a:lnTo>
                  <a:pt x="7335995" y="6401917"/>
                </a:lnTo>
                <a:cubicBezTo>
                  <a:pt x="7266734" y="6471179"/>
                  <a:pt x="7266734" y="6583474"/>
                  <a:pt x="7335995" y="6652735"/>
                </a:cubicBezTo>
                <a:lnTo>
                  <a:pt x="7357954" y="6674694"/>
                </a:lnTo>
                <a:cubicBezTo>
                  <a:pt x="7427215" y="6743956"/>
                  <a:pt x="7539511" y="6743956"/>
                  <a:pt x="7608772" y="6674694"/>
                </a:cubicBezTo>
                <a:lnTo>
                  <a:pt x="8309682" y="5973784"/>
                </a:lnTo>
                <a:cubicBezTo>
                  <a:pt x="8378944" y="5904522"/>
                  <a:pt x="8378944" y="5792227"/>
                  <a:pt x="8309682" y="5722966"/>
                </a:cubicBezTo>
                <a:lnTo>
                  <a:pt x="8287723" y="5701007"/>
                </a:lnTo>
                <a:cubicBezTo>
                  <a:pt x="8253093" y="5666376"/>
                  <a:pt x="8207704" y="5649061"/>
                  <a:pt x="8162314" y="5649061"/>
                </a:cubicBezTo>
                <a:close/>
                <a:moveTo>
                  <a:pt x="899628" y="5446562"/>
                </a:moveTo>
                <a:cubicBezTo>
                  <a:pt x="719268" y="5446562"/>
                  <a:pt x="573057" y="5592773"/>
                  <a:pt x="573057" y="5773133"/>
                </a:cubicBezTo>
                <a:cubicBezTo>
                  <a:pt x="573057" y="5953493"/>
                  <a:pt x="719268" y="6099704"/>
                  <a:pt x="899628" y="6099704"/>
                </a:cubicBezTo>
                <a:cubicBezTo>
                  <a:pt x="1079988" y="6099704"/>
                  <a:pt x="1226199" y="5953493"/>
                  <a:pt x="1226199" y="5773133"/>
                </a:cubicBezTo>
                <a:cubicBezTo>
                  <a:pt x="1226199" y="5592773"/>
                  <a:pt x="1079988" y="5446562"/>
                  <a:pt x="899628" y="5446562"/>
                </a:cubicBezTo>
                <a:close/>
                <a:moveTo>
                  <a:pt x="370117" y="4731656"/>
                </a:moveTo>
                <a:cubicBezTo>
                  <a:pt x="189758" y="4731656"/>
                  <a:pt x="43547" y="4877867"/>
                  <a:pt x="43547" y="5058227"/>
                </a:cubicBezTo>
                <a:cubicBezTo>
                  <a:pt x="43547" y="5238587"/>
                  <a:pt x="189758" y="5384798"/>
                  <a:pt x="370117" y="5384798"/>
                </a:cubicBezTo>
                <a:cubicBezTo>
                  <a:pt x="550478" y="5384798"/>
                  <a:pt x="696689" y="5238587"/>
                  <a:pt x="696689" y="5058227"/>
                </a:cubicBezTo>
                <a:cubicBezTo>
                  <a:pt x="696689" y="4877867"/>
                  <a:pt x="550478" y="4731656"/>
                  <a:pt x="370117" y="4731656"/>
                </a:cubicBezTo>
                <a:close/>
                <a:moveTo>
                  <a:pt x="8139025" y="4569563"/>
                </a:moveTo>
                <a:cubicBezTo>
                  <a:pt x="8093636" y="4569563"/>
                  <a:pt x="8048247" y="4586878"/>
                  <a:pt x="8013616" y="4621508"/>
                </a:cubicBezTo>
                <a:lnTo>
                  <a:pt x="6236292" y="6398833"/>
                </a:lnTo>
                <a:cubicBezTo>
                  <a:pt x="6167031" y="6468094"/>
                  <a:pt x="6167031" y="6580390"/>
                  <a:pt x="6236292" y="6649651"/>
                </a:cubicBezTo>
                <a:lnTo>
                  <a:pt x="6258251" y="6671610"/>
                </a:lnTo>
                <a:cubicBezTo>
                  <a:pt x="6327512" y="6740871"/>
                  <a:pt x="6439808" y="6740871"/>
                  <a:pt x="6509069" y="6671610"/>
                </a:cubicBezTo>
                <a:lnTo>
                  <a:pt x="8286393" y="4894285"/>
                </a:lnTo>
                <a:cubicBezTo>
                  <a:pt x="8355654" y="4825024"/>
                  <a:pt x="8355654" y="4712728"/>
                  <a:pt x="8286393" y="4643467"/>
                </a:cubicBezTo>
                <a:lnTo>
                  <a:pt x="8264434" y="4621508"/>
                </a:lnTo>
                <a:cubicBezTo>
                  <a:pt x="8229804" y="4586878"/>
                  <a:pt x="8184415" y="4569563"/>
                  <a:pt x="8139025" y="4569563"/>
                </a:cubicBezTo>
                <a:close/>
                <a:moveTo>
                  <a:pt x="7618325" y="3939483"/>
                </a:moveTo>
                <a:cubicBezTo>
                  <a:pt x="7572936" y="3939483"/>
                  <a:pt x="7527547" y="3956798"/>
                  <a:pt x="7492916" y="3991429"/>
                </a:cubicBezTo>
                <a:lnTo>
                  <a:pt x="5016683" y="6467663"/>
                </a:lnTo>
                <a:cubicBezTo>
                  <a:pt x="4947422" y="6536924"/>
                  <a:pt x="4947422" y="6649220"/>
                  <a:pt x="5016683" y="6718481"/>
                </a:cubicBezTo>
                <a:lnTo>
                  <a:pt x="5038642" y="6740440"/>
                </a:lnTo>
                <a:cubicBezTo>
                  <a:pt x="5107903" y="6809701"/>
                  <a:pt x="5220199" y="6809701"/>
                  <a:pt x="5289460" y="6740440"/>
                </a:cubicBezTo>
                <a:lnTo>
                  <a:pt x="7765693" y="4264206"/>
                </a:lnTo>
                <a:cubicBezTo>
                  <a:pt x="7834954" y="4194945"/>
                  <a:pt x="7834954" y="4082649"/>
                  <a:pt x="7765693" y="4013388"/>
                </a:cubicBezTo>
                <a:lnTo>
                  <a:pt x="7743734" y="3991429"/>
                </a:lnTo>
                <a:cubicBezTo>
                  <a:pt x="7709103" y="3956798"/>
                  <a:pt x="7663714" y="3939483"/>
                  <a:pt x="7618325" y="3939483"/>
                </a:cubicBezTo>
                <a:close/>
                <a:moveTo>
                  <a:pt x="10089754" y="3704146"/>
                </a:moveTo>
                <a:cubicBezTo>
                  <a:pt x="10044365" y="3704146"/>
                  <a:pt x="9998976" y="3721461"/>
                  <a:pt x="9964345" y="3756091"/>
                </a:cubicBezTo>
                <a:lnTo>
                  <a:pt x="8460165" y="5260272"/>
                </a:lnTo>
                <a:cubicBezTo>
                  <a:pt x="8390903" y="5329533"/>
                  <a:pt x="8390903" y="5441829"/>
                  <a:pt x="8460165" y="5511090"/>
                </a:cubicBezTo>
                <a:lnTo>
                  <a:pt x="8482124" y="5533049"/>
                </a:lnTo>
                <a:cubicBezTo>
                  <a:pt x="8551385" y="5602310"/>
                  <a:pt x="8663680" y="5602310"/>
                  <a:pt x="8732942" y="5533049"/>
                </a:cubicBezTo>
                <a:lnTo>
                  <a:pt x="10237122" y="4028868"/>
                </a:lnTo>
                <a:cubicBezTo>
                  <a:pt x="10306384" y="3959607"/>
                  <a:pt x="10306384" y="3847312"/>
                  <a:pt x="10237122" y="3778051"/>
                </a:cubicBezTo>
                <a:lnTo>
                  <a:pt x="10215163" y="3756091"/>
                </a:lnTo>
                <a:cubicBezTo>
                  <a:pt x="10180532" y="3721461"/>
                  <a:pt x="10135144" y="3704146"/>
                  <a:pt x="10089754" y="3704146"/>
                </a:cubicBezTo>
                <a:close/>
                <a:moveTo>
                  <a:pt x="10041065" y="2624647"/>
                </a:moveTo>
                <a:cubicBezTo>
                  <a:pt x="9995676" y="2624647"/>
                  <a:pt x="9950287" y="2641962"/>
                  <a:pt x="9915656" y="2676593"/>
                </a:cubicBezTo>
                <a:lnTo>
                  <a:pt x="8411476" y="4180773"/>
                </a:lnTo>
                <a:cubicBezTo>
                  <a:pt x="8342215" y="4250034"/>
                  <a:pt x="8342215" y="4362330"/>
                  <a:pt x="8411476" y="4431591"/>
                </a:cubicBezTo>
                <a:lnTo>
                  <a:pt x="8433435" y="4453550"/>
                </a:lnTo>
                <a:cubicBezTo>
                  <a:pt x="8502696" y="4522811"/>
                  <a:pt x="8614991" y="4522811"/>
                  <a:pt x="8684253" y="4453550"/>
                </a:cubicBezTo>
                <a:lnTo>
                  <a:pt x="10188433" y="2949370"/>
                </a:lnTo>
                <a:cubicBezTo>
                  <a:pt x="10257695" y="2880109"/>
                  <a:pt x="10257695" y="2767813"/>
                  <a:pt x="10188433" y="2698552"/>
                </a:cubicBezTo>
                <a:lnTo>
                  <a:pt x="10166474" y="2676593"/>
                </a:lnTo>
                <a:cubicBezTo>
                  <a:pt x="10131844" y="2641962"/>
                  <a:pt x="10086454" y="2624647"/>
                  <a:pt x="10041065" y="2624647"/>
                </a:cubicBezTo>
                <a:close/>
                <a:moveTo>
                  <a:pt x="9520364" y="1994569"/>
                </a:moveTo>
                <a:cubicBezTo>
                  <a:pt x="9474975" y="1994569"/>
                  <a:pt x="9429586" y="2011885"/>
                  <a:pt x="9394955" y="2046515"/>
                </a:cubicBezTo>
                <a:lnTo>
                  <a:pt x="7890775" y="3550695"/>
                </a:lnTo>
                <a:cubicBezTo>
                  <a:pt x="7821514" y="3619956"/>
                  <a:pt x="7821514" y="3732252"/>
                  <a:pt x="7890775" y="3801513"/>
                </a:cubicBezTo>
                <a:lnTo>
                  <a:pt x="7912734" y="3823472"/>
                </a:lnTo>
                <a:cubicBezTo>
                  <a:pt x="7981995" y="3892733"/>
                  <a:pt x="8094291" y="3892733"/>
                  <a:pt x="8163552" y="3823472"/>
                </a:cubicBezTo>
                <a:lnTo>
                  <a:pt x="9667732" y="2319292"/>
                </a:lnTo>
                <a:cubicBezTo>
                  <a:pt x="9736994" y="2250031"/>
                  <a:pt x="9736994" y="2137735"/>
                  <a:pt x="9667732" y="2068475"/>
                </a:cubicBezTo>
                <a:lnTo>
                  <a:pt x="9645773" y="2046515"/>
                </a:lnTo>
                <a:cubicBezTo>
                  <a:pt x="9611142" y="2011885"/>
                  <a:pt x="9565753" y="1994569"/>
                  <a:pt x="9520364" y="1994569"/>
                </a:cubicBezTo>
                <a:close/>
                <a:moveTo>
                  <a:pt x="11974643" y="1766977"/>
                </a:moveTo>
                <a:cubicBezTo>
                  <a:pt x="11929254" y="1766977"/>
                  <a:pt x="11883865" y="1784292"/>
                  <a:pt x="11849234" y="1818923"/>
                </a:cubicBezTo>
                <a:lnTo>
                  <a:pt x="10345054" y="3323103"/>
                </a:lnTo>
                <a:cubicBezTo>
                  <a:pt x="10275792" y="3392364"/>
                  <a:pt x="10275792" y="3504659"/>
                  <a:pt x="10345054" y="3573920"/>
                </a:cubicBezTo>
                <a:lnTo>
                  <a:pt x="10367013" y="3595879"/>
                </a:lnTo>
                <a:cubicBezTo>
                  <a:pt x="10436274" y="3665140"/>
                  <a:pt x="10548569" y="3665140"/>
                  <a:pt x="10617831" y="3595879"/>
                </a:cubicBezTo>
                <a:lnTo>
                  <a:pt x="12122011" y="2091700"/>
                </a:lnTo>
                <a:cubicBezTo>
                  <a:pt x="12191273" y="2022439"/>
                  <a:pt x="12191273" y="1910143"/>
                  <a:pt x="12122011" y="1840882"/>
                </a:cubicBezTo>
                <a:lnTo>
                  <a:pt x="12100052" y="1818923"/>
                </a:lnTo>
                <a:cubicBezTo>
                  <a:pt x="12065422" y="1784292"/>
                  <a:pt x="12020032" y="1766977"/>
                  <a:pt x="11974643" y="1766977"/>
                </a:cubicBezTo>
                <a:close/>
                <a:moveTo>
                  <a:pt x="4017223" y="734456"/>
                </a:moveTo>
                <a:lnTo>
                  <a:pt x="3560024" y="1191656"/>
                </a:lnTo>
                <a:lnTo>
                  <a:pt x="4017223" y="1648856"/>
                </a:lnTo>
                <a:lnTo>
                  <a:pt x="4474421" y="1191656"/>
                </a:lnTo>
                <a:close/>
                <a:moveTo>
                  <a:pt x="5708917" y="734456"/>
                </a:moveTo>
                <a:lnTo>
                  <a:pt x="5251717" y="1191656"/>
                </a:lnTo>
                <a:lnTo>
                  <a:pt x="5708917" y="1648856"/>
                </a:lnTo>
                <a:lnTo>
                  <a:pt x="6166116" y="1191656"/>
                </a:lnTo>
                <a:close/>
                <a:moveTo>
                  <a:pt x="7400612" y="734455"/>
                </a:moveTo>
                <a:lnTo>
                  <a:pt x="6943412" y="1191656"/>
                </a:lnTo>
                <a:lnTo>
                  <a:pt x="7400612" y="1648856"/>
                </a:lnTo>
                <a:lnTo>
                  <a:pt x="7857812" y="1191656"/>
                </a:lnTo>
                <a:close/>
                <a:moveTo>
                  <a:pt x="9092308" y="734455"/>
                </a:moveTo>
                <a:lnTo>
                  <a:pt x="8635108" y="1191655"/>
                </a:lnTo>
                <a:lnTo>
                  <a:pt x="9092308" y="1648855"/>
                </a:lnTo>
                <a:lnTo>
                  <a:pt x="9549508" y="1191655"/>
                </a:lnTo>
                <a:close/>
                <a:moveTo>
                  <a:pt x="11938654" y="725578"/>
                </a:moveTo>
                <a:cubicBezTo>
                  <a:pt x="11893265" y="725578"/>
                  <a:pt x="11847876" y="742893"/>
                  <a:pt x="11813245" y="777523"/>
                </a:cubicBezTo>
                <a:lnTo>
                  <a:pt x="10309065" y="2281704"/>
                </a:lnTo>
                <a:cubicBezTo>
                  <a:pt x="10239803" y="2350965"/>
                  <a:pt x="10239803" y="2463261"/>
                  <a:pt x="10309065" y="2532522"/>
                </a:cubicBezTo>
                <a:lnTo>
                  <a:pt x="10331024" y="2554481"/>
                </a:lnTo>
                <a:cubicBezTo>
                  <a:pt x="10400285" y="2623742"/>
                  <a:pt x="10512580" y="2623742"/>
                  <a:pt x="10581842" y="2554481"/>
                </a:cubicBezTo>
                <a:lnTo>
                  <a:pt x="12086022" y="1050300"/>
                </a:lnTo>
                <a:cubicBezTo>
                  <a:pt x="12155284" y="981039"/>
                  <a:pt x="12155284" y="868744"/>
                  <a:pt x="12086022" y="799483"/>
                </a:cubicBezTo>
                <a:lnTo>
                  <a:pt x="12064063" y="777523"/>
                </a:lnTo>
                <a:cubicBezTo>
                  <a:pt x="12029432" y="742893"/>
                  <a:pt x="11984043" y="725578"/>
                  <a:pt x="11938654" y="725578"/>
                </a:cubicBezTo>
                <a:close/>
                <a:moveTo>
                  <a:pt x="11405253" y="57401"/>
                </a:moveTo>
                <a:cubicBezTo>
                  <a:pt x="11359864" y="57401"/>
                  <a:pt x="11314475" y="74716"/>
                  <a:pt x="11279844" y="109347"/>
                </a:cubicBezTo>
                <a:lnTo>
                  <a:pt x="9775664" y="1613528"/>
                </a:lnTo>
                <a:cubicBezTo>
                  <a:pt x="9706402" y="1682789"/>
                  <a:pt x="9706402" y="1795085"/>
                  <a:pt x="9775664" y="1864346"/>
                </a:cubicBezTo>
                <a:lnTo>
                  <a:pt x="9797623" y="1886305"/>
                </a:lnTo>
                <a:cubicBezTo>
                  <a:pt x="9866884" y="1955566"/>
                  <a:pt x="9979179" y="1955566"/>
                  <a:pt x="10048441" y="1886305"/>
                </a:cubicBezTo>
                <a:lnTo>
                  <a:pt x="11552621" y="382124"/>
                </a:lnTo>
                <a:cubicBezTo>
                  <a:pt x="11621883" y="312862"/>
                  <a:pt x="11621883" y="200567"/>
                  <a:pt x="11552621" y="131306"/>
                </a:cubicBezTo>
                <a:lnTo>
                  <a:pt x="11530662" y="109347"/>
                </a:lnTo>
                <a:cubicBezTo>
                  <a:pt x="11496032" y="74716"/>
                  <a:pt x="11450643" y="57401"/>
                  <a:pt x="11405253" y="57401"/>
                </a:cubicBezTo>
                <a:close/>
                <a:moveTo>
                  <a:pt x="4" y="2"/>
                </a:moveTo>
                <a:lnTo>
                  <a:pt x="4" y="3090502"/>
                </a:lnTo>
                <a:lnTo>
                  <a:pt x="3090503" y="2"/>
                </a:lnTo>
                <a:close/>
                <a:moveTo>
                  <a:pt x="3171376" y="2"/>
                </a:moveTo>
                <a:lnTo>
                  <a:pt x="2714176" y="457202"/>
                </a:lnTo>
                <a:lnTo>
                  <a:pt x="3171376" y="914402"/>
                </a:lnTo>
                <a:lnTo>
                  <a:pt x="3628576" y="457202"/>
                </a:lnTo>
                <a:close/>
                <a:moveTo>
                  <a:pt x="4863069" y="2"/>
                </a:moveTo>
                <a:lnTo>
                  <a:pt x="4405869" y="457202"/>
                </a:lnTo>
                <a:lnTo>
                  <a:pt x="4863069" y="914402"/>
                </a:lnTo>
                <a:lnTo>
                  <a:pt x="5320269" y="457202"/>
                </a:lnTo>
                <a:close/>
                <a:moveTo>
                  <a:pt x="6554764" y="2"/>
                </a:moveTo>
                <a:lnTo>
                  <a:pt x="6097564" y="457201"/>
                </a:lnTo>
                <a:lnTo>
                  <a:pt x="6554764" y="914401"/>
                </a:lnTo>
                <a:lnTo>
                  <a:pt x="7011964" y="457201"/>
                </a:lnTo>
                <a:close/>
                <a:moveTo>
                  <a:pt x="8246460" y="1"/>
                </a:moveTo>
                <a:lnTo>
                  <a:pt x="7789260" y="457201"/>
                </a:lnTo>
                <a:lnTo>
                  <a:pt x="8246460" y="914401"/>
                </a:lnTo>
                <a:lnTo>
                  <a:pt x="8703660" y="457201"/>
                </a:lnTo>
                <a:close/>
                <a:moveTo>
                  <a:pt x="9938152" y="1"/>
                </a:moveTo>
                <a:lnTo>
                  <a:pt x="9480952" y="457201"/>
                </a:lnTo>
                <a:lnTo>
                  <a:pt x="9938152" y="914401"/>
                </a:lnTo>
                <a:lnTo>
                  <a:pt x="10395352" y="457201"/>
                </a:lnTo>
                <a:close/>
                <a:moveTo>
                  <a:pt x="0" y="0"/>
                </a:moveTo>
                <a:lnTo>
                  <a:pt x="12192000" y="0"/>
                </a:lnTo>
                <a:lnTo>
                  <a:pt x="12192000" y="2431144"/>
                </a:lnTo>
                <a:lnTo>
                  <a:pt x="7765144" y="6858000"/>
                </a:lnTo>
                <a:lnTo>
                  <a:pt x="0" y="6858000"/>
                </a:lnTo>
                <a:close/>
              </a:path>
            </a:pathLst>
          </a:custGeom>
          <a:solidFill>
            <a:schemeClr val="accent1">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b="1" dirty="0" err="1">
              <a:solidFill>
                <a:schemeClr val="accent4"/>
              </a:solidFill>
            </a:endParaRPr>
          </a:p>
        </p:txBody>
      </p:sp>
      <p:sp>
        <p:nvSpPr>
          <p:cNvPr id="49" name="Freeform: Shape 48">
            <a:extLst>
              <a:ext uri="{FF2B5EF4-FFF2-40B4-BE49-F238E27FC236}">
                <a16:creationId xmlns:a16="http://schemas.microsoft.com/office/drawing/2014/main" id="{A674ABF8-EAD4-4410-8CCD-477D276B43F4}"/>
              </a:ext>
            </a:extLst>
          </p:cNvPr>
          <p:cNvSpPr/>
          <p:nvPr userDrawn="1"/>
        </p:nvSpPr>
        <p:spPr>
          <a:xfrm>
            <a:off x="-3411" y="2450947"/>
            <a:ext cx="6607408" cy="2237168"/>
          </a:xfrm>
          <a:custGeom>
            <a:avLst/>
            <a:gdLst>
              <a:gd name="connsiteX0" fmla="*/ 643965 w 6607408"/>
              <a:gd name="connsiteY0" fmla="*/ 0 h 2237168"/>
              <a:gd name="connsiteX1" fmla="*/ 6607408 w 6607408"/>
              <a:gd name="connsiteY1" fmla="*/ 0 h 2237168"/>
              <a:gd name="connsiteX2" fmla="*/ 6607408 w 6607408"/>
              <a:gd name="connsiteY2" fmla="*/ 2237167 h 2237168"/>
              <a:gd name="connsiteX3" fmla="*/ 643965 w 6607408"/>
              <a:gd name="connsiteY3" fmla="*/ 2237167 h 2237168"/>
              <a:gd name="connsiteX4" fmla="*/ 643965 w 6607408"/>
              <a:gd name="connsiteY4" fmla="*/ 2237168 h 2237168"/>
              <a:gd name="connsiteX5" fmla="*/ 7730 w 6607408"/>
              <a:gd name="connsiteY5" fmla="*/ 2237168 h 2237168"/>
              <a:gd name="connsiteX6" fmla="*/ 7730 w 6607408"/>
              <a:gd name="connsiteY6" fmla="*/ 655216 h 2237168"/>
              <a:gd name="connsiteX7" fmla="*/ 0 w 6607408"/>
              <a:gd name="connsiteY7" fmla="*/ 647509 h 2237168"/>
              <a:gd name="connsiteX8" fmla="*/ 7730 w 6607408"/>
              <a:gd name="connsiteY8" fmla="*/ 639757 h 2237168"/>
              <a:gd name="connsiteX9" fmla="*/ 7730 w 6607408"/>
              <a:gd name="connsiteY9" fmla="*/ 635076 h 2237168"/>
              <a:gd name="connsiteX10" fmla="*/ 12397 w 6607408"/>
              <a:gd name="connsiteY10" fmla="*/ 635076 h 2237168"/>
              <a:gd name="connsiteX11" fmla="*/ 643965 w 6607408"/>
              <a:gd name="connsiteY11" fmla="*/ 1687 h 223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7408" h="2237168">
                <a:moveTo>
                  <a:pt x="643965" y="0"/>
                </a:moveTo>
                <a:lnTo>
                  <a:pt x="6607408" y="0"/>
                </a:lnTo>
                <a:lnTo>
                  <a:pt x="6607408" y="2237167"/>
                </a:lnTo>
                <a:lnTo>
                  <a:pt x="643965" y="2237167"/>
                </a:lnTo>
                <a:lnTo>
                  <a:pt x="643965" y="2237168"/>
                </a:lnTo>
                <a:lnTo>
                  <a:pt x="7730" y="2237168"/>
                </a:lnTo>
                <a:lnTo>
                  <a:pt x="7730" y="655216"/>
                </a:lnTo>
                <a:lnTo>
                  <a:pt x="0" y="647509"/>
                </a:lnTo>
                <a:lnTo>
                  <a:pt x="7730" y="639757"/>
                </a:lnTo>
                <a:lnTo>
                  <a:pt x="7730" y="635076"/>
                </a:lnTo>
                <a:lnTo>
                  <a:pt x="12397" y="635076"/>
                </a:lnTo>
                <a:lnTo>
                  <a:pt x="643965" y="1687"/>
                </a:lnTo>
                <a:close/>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b="1" dirty="0" err="1">
              <a:solidFill>
                <a:schemeClr val="accent4"/>
              </a:solidFill>
            </a:endParaRPr>
          </a:p>
        </p:txBody>
      </p:sp>
      <p:sp>
        <p:nvSpPr>
          <p:cNvPr id="42" name="Title 1">
            <a:extLst>
              <a:ext uri="{FF2B5EF4-FFF2-40B4-BE49-F238E27FC236}">
                <a16:creationId xmlns:a16="http://schemas.microsoft.com/office/drawing/2014/main" id="{9E90D4A6-EABC-4668-B33A-12C8E0ACFBB3}"/>
              </a:ext>
            </a:extLst>
          </p:cNvPr>
          <p:cNvSpPr>
            <a:spLocks noGrp="1"/>
          </p:cNvSpPr>
          <p:nvPr userDrawn="1">
            <p:ph type="ctrTitle" hasCustomPrompt="1"/>
          </p:nvPr>
        </p:nvSpPr>
        <p:spPr>
          <a:xfrm>
            <a:off x="1339912" y="2870389"/>
            <a:ext cx="6859208" cy="438582"/>
          </a:xfrm>
        </p:spPr>
        <p:txBody>
          <a:bodyPr wrap="square" anchor="b">
            <a:spAutoFit/>
          </a:bodyPr>
          <a:lstStyle>
            <a:lvl1pPr>
              <a:defRPr sz="2250">
                <a:solidFill>
                  <a:schemeClr val="bg1"/>
                </a:solidFill>
              </a:defRPr>
            </a:lvl1pPr>
          </a:lstStyle>
          <a:p>
            <a:r>
              <a:rPr lang="en-US" dirty="0"/>
              <a:t>TITLE OF THE DOCUMENT</a:t>
            </a:r>
          </a:p>
        </p:txBody>
      </p:sp>
      <p:sp>
        <p:nvSpPr>
          <p:cNvPr id="43" name="Subtitle 2">
            <a:extLst>
              <a:ext uri="{FF2B5EF4-FFF2-40B4-BE49-F238E27FC236}">
                <a16:creationId xmlns:a16="http://schemas.microsoft.com/office/drawing/2014/main" id="{5A7FD2E5-3430-4B6D-8B88-FEEF41234A8A}"/>
              </a:ext>
            </a:extLst>
          </p:cNvPr>
          <p:cNvSpPr>
            <a:spLocks noGrp="1"/>
          </p:cNvSpPr>
          <p:nvPr userDrawn="1">
            <p:ph type="subTitle" idx="1" hasCustomPrompt="1"/>
          </p:nvPr>
        </p:nvSpPr>
        <p:spPr>
          <a:xfrm>
            <a:off x="1339912" y="4237383"/>
            <a:ext cx="6859208" cy="276999"/>
          </a:xfrm>
        </p:spPr>
        <p:txBody>
          <a:bodyPr/>
          <a:lstStyle>
            <a:lvl1pPr>
              <a:defRPr sz="1800">
                <a:solidFill>
                  <a:schemeClr val="bg1"/>
                </a:solidFill>
              </a:defRPr>
            </a:lvl1pPr>
          </a:lstStyle>
          <a:p>
            <a:r>
              <a:rPr lang="en-US"/>
              <a:t>EDIT SUBTITLE</a:t>
            </a:r>
            <a:endParaRPr lang="en-US" dirty="0"/>
          </a:p>
        </p:txBody>
      </p:sp>
      <p:sp>
        <p:nvSpPr>
          <p:cNvPr id="85" name="Text Placeholder 84">
            <a:extLst>
              <a:ext uri="{FF2B5EF4-FFF2-40B4-BE49-F238E27FC236}">
                <a16:creationId xmlns:a16="http://schemas.microsoft.com/office/drawing/2014/main" id="{217D11FD-233F-4482-938B-82CA452ECE9C}"/>
              </a:ext>
            </a:extLst>
          </p:cNvPr>
          <p:cNvSpPr>
            <a:spLocks noGrp="1"/>
          </p:cNvSpPr>
          <p:nvPr userDrawn="1">
            <p:ph type="body" sz="quarter" idx="10"/>
          </p:nvPr>
        </p:nvSpPr>
        <p:spPr>
          <a:xfrm>
            <a:off x="1339399" y="3407040"/>
            <a:ext cx="6841373" cy="242374"/>
          </a:xfrm>
        </p:spPr>
        <p:txBody>
          <a:bodyPr vert="horz" wrap="square" lIns="0" tIns="0" rIns="0" bIns="0" rtlCol="0">
            <a:spAutoFit/>
          </a:bodyPr>
          <a:lstStyle>
            <a:lvl1pPr>
              <a:defRPr lang="en-US" sz="1575" i="0" dirty="0" smtClean="0">
                <a:solidFill>
                  <a:schemeClr val="bg1"/>
                </a:solidFill>
              </a:defRPr>
            </a:lvl1pPr>
            <a:lvl2pPr>
              <a:defRPr lang="en-US" dirty="0" smtClean="0"/>
            </a:lvl2pPr>
            <a:lvl3pPr>
              <a:defRPr lang="en-US" dirty="0" smtClean="0"/>
            </a:lvl3pPr>
            <a:lvl4pPr>
              <a:defRPr lang="en-US" dirty="0" smtClean="0"/>
            </a:lvl4pPr>
            <a:lvl5pPr>
              <a:defRPr lang="en-IN" dirty="0"/>
            </a:lvl5pPr>
          </a:lstStyle>
          <a:p>
            <a:pPr lvl="0"/>
            <a:r>
              <a:rPr lang="en-US" dirty="0"/>
              <a:t>Edit Master text styles</a:t>
            </a:r>
          </a:p>
        </p:txBody>
      </p:sp>
    </p:spTree>
    <p:extLst>
      <p:ext uri="{BB962C8B-B14F-4D97-AF65-F5344CB8AC3E}">
        <p14:creationId xmlns:p14="http://schemas.microsoft.com/office/powerpoint/2010/main" val="9055924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2906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7" name="Picture Placeholder 6"/>
          <p:cNvSpPr>
            <a:spLocks noGrp="1"/>
          </p:cNvSpPr>
          <p:nvPr>
            <p:ph type="pic" sz="quarter" idx="16" hasCustomPrompt="1"/>
          </p:nvPr>
        </p:nvSpPr>
        <p:spPr>
          <a:xfrm>
            <a:off x="1325284" y="-1"/>
            <a:ext cx="5195129" cy="4674887"/>
          </a:xfrm>
          <a:custGeom>
            <a:avLst/>
            <a:gdLst>
              <a:gd name="connsiteX0" fmla="*/ 1257458 w 5195129"/>
              <a:gd name="connsiteY0" fmla="*/ 0 h 4674887"/>
              <a:gd name="connsiteX1" fmla="*/ 4888355 w 5195129"/>
              <a:gd name="connsiteY1" fmla="*/ 0 h 4674887"/>
              <a:gd name="connsiteX2" fmla="*/ 4897797 w 5195129"/>
              <a:gd name="connsiteY2" fmla="*/ 10583 h 4674887"/>
              <a:gd name="connsiteX3" fmla="*/ 4991734 w 5195129"/>
              <a:gd name="connsiteY3" fmla="*/ 153016 h 4674887"/>
              <a:gd name="connsiteX4" fmla="*/ 5155578 w 5195129"/>
              <a:gd name="connsiteY4" fmla="*/ 618243 h 4674887"/>
              <a:gd name="connsiteX5" fmla="*/ 5191863 w 5195129"/>
              <a:gd name="connsiteY5" fmla="*/ 1214314 h 4674887"/>
              <a:gd name="connsiteX6" fmla="*/ 5140212 w 5195129"/>
              <a:gd name="connsiteY6" fmla="*/ 1702059 h 4674887"/>
              <a:gd name="connsiteX7" fmla="*/ 5065164 w 5195129"/>
              <a:gd name="connsiteY7" fmla="*/ 2086547 h 4674887"/>
              <a:gd name="connsiteX8" fmla="*/ 4969982 w 5195129"/>
              <a:gd name="connsiteY8" fmla="*/ 2462239 h 4674887"/>
              <a:gd name="connsiteX9" fmla="*/ 4966842 w 5195129"/>
              <a:gd name="connsiteY9" fmla="*/ 2481819 h 4674887"/>
              <a:gd name="connsiteX10" fmla="*/ 4948658 w 5195129"/>
              <a:gd name="connsiteY10" fmla="*/ 2545371 h 4674887"/>
              <a:gd name="connsiteX11" fmla="*/ 4938561 w 5195129"/>
              <a:gd name="connsiteY11" fmla="*/ 2572055 h 4674887"/>
              <a:gd name="connsiteX12" fmla="*/ 4784773 w 5195129"/>
              <a:gd name="connsiteY12" fmla="*/ 3040688 h 4674887"/>
              <a:gd name="connsiteX13" fmla="*/ 4548619 w 5195129"/>
              <a:gd name="connsiteY13" fmla="*/ 3590655 h 4674887"/>
              <a:gd name="connsiteX14" fmla="*/ 4250458 w 5195129"/>
              <a:gd name="connsiteY14" fmla="*/ 4073335 h 4674887"/>
              <a:gd name="connsiteX15" fmla="*/ 3878856 w 5195129"/>
              <a:gd name="connsiteY15" fmla="*/ 4443497 h 4674887"/>
              <a:gd name="connsiteX16" fmla="*/ 3186482 w 5195129"/>
              <a:gd name="connsiteY16" fmla="*/ 4674862 h 4674887"/>
              <a:gd name="connsiteX17" fmla="*/ 2891514 w 5195129"/>
              <a:gd name="connsiteY17" fmla="*/ 4643798 h 4674887"/>
              <a:gd name="connsiteX18" fmla="*/ 2828700 w 5195129"/>
              <a:gd name="connsiteY18" fmla="*/ 4634421 h 4674887"/>
              <a:gd name="connsiteX19" fmla="*/ 2731286 w 5195129"/>
              <a:gd name="connsiteY19" fmla="*/ 4606548 h 4674887"/>
              <a:gd name="connsiteX20" fmla="*/ 2693489 w 5195129"/>
              <a:gd name="connsiteY20" fmla="*/ 4588909 h 4674887"/>
              <a:gd name="connsiteX21" fmla="*/ 2259009 w 5195129"/>
              <a:gd name="connsiteY21" fmla="*/ 4386231 h 4674887"/>
              <a:gd name="connsiteX22" fmla="*/ 1725702 w 5195129"/>
              <a:gd name="connsiteY22" fmla="*/ 4009169 h 4674887"/>
              <a:gd name="connsiteX23" fmla="*/ 1036282 w 5195129"/>
              <a:gd name="connsiteY23" fmla="*/ 3354127 h 4674887"/>
              <a:gd name="connsiteX24" fmla="*/ 456082 w 5195129"/>
              <a:gd name="connsiteY24" fmla="*/ 2640093 h 4674887"/>
              <a:gd name="connsiteX25" fmla="*/ 152116 w 5195129"/>
              <a:gd name="connsiteY25" fmla="*/ 2096603 h 4674887"/>
              <a:gd name="connsiteX26" fmla="*/ 13326 w 5195129"/>
              <a:gd name="connsiteY26" fmla="*/ 1617813 h 4674887"/>
              <a:gd name="connsiteX27" fmla="*/ 19959 w 5195129"/>
              <a:gd name="connsiteY27" fmla="*/ 1209959 h 4674887"/>
              <a:gd name="connsiteX28" fmla="*/ 31259 w 5195129"/>
              <a:gd name="connsiteY28" fmla="*/ 1142921 h 4674887"/>
              <a:gd name="connsiteX29" fmla="*/ 53053 w 5195129"/>
              <a:gd name="connsiteY29" fmla="*/ 1066752 h 4674887"/>
              <a:gd name="connsiteX30" fmla="*/ 61817 w 5195129"/>
              <a:gd name="connsiteY30" fmla="*/ 1049035 h 4674887"/>
              <a:gd name="connsiteX31" fmla="*/ 105769 w 5195129"/>
              <a:gd name="connsiteY31" fmla="*/ 941036 h 4674887"/>
              <a:gd name="connsiteX32" fmla="*/ 367836 w 5195129"/>
              <a:gd name="connsiteY32" fmla="*/ 565570 h 4674887"/>
              <a:gd name="connsiteX33" fmla="*/ 837097 w 5195129"/>
              <a:gd name="connsiteY33" fmla="*/ 206920 h 4674887"/>
              <a:gd name="connsiteX34" fmla="*/ 1121761 w 5195129"/>
              <a:gd name="connsiteY34" fmla="*/ 57235 h 46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195129" h="4674887">
                <a:moveTo>
                  <a:pt x="1257458" y="0"/>
                </a:moveTo>
                <a:lnTo>
                  <a:pt x="4888355" y="0"/>
                </a:lnTo>
                <a:lnTo>
                  <a:pt x="4897797" y="10583"/>
                </a:lnTo>
                <a:cubicBezTo>
                  <a:pt x="4932002" y="55083"/>
                  <a:pt x="4963329" y="102548"/>
                  <a:pt x="4991734" y="153016"/>
                </a:cubicBezTo>
                <a:cubicBezTo>
                  <a:pt x="5073471" y="298496"/>
                  <a:pt x="5124502" y="454903"/>
                  <a:pt x="5155578" y="618243"/>
                </a:cubicBezTo>
                <a:cubicBezTo>
                  <a:pt x="5192956" y="815490"/>
                  <a:pt x="5200577" y="1014331"/>
                  <a:pt x="5191863" y="1214314"/>
                </a:cubicBezTo>
                <a:cubicBezTo>
                  <a:pt x="5184425" y="1378006"/>
                  <a:pt x="5166047" y="1540340"/>
                  <a:pt x="5140212" y="1702059"/>
                </a:cubicBezTo>
                <a:cubicBezTo>
                  <a:pt x="5119763" y="1831189"/>
                  <a:pt x="5095537" y="1959748"/>
                  <a:pt x="5065164" y="2086547"/>
                </a:cubicBezTo>
                <a:cubicBezTo>
                  <a:pt x="5035290" y="2212477"/>
                  <a:pt x="5001840" y="2337131"/>
                  <a:pt x="4969982" y="2462239"/>
                </a:cubicBezTo>
                <a:cubicBezTo>
                  <a:pt x="4968404" y="2468613"/>
                  <a:pt x="4967964" y="2475314"/>
                  <a:pt x="4966842" y="2481819"/>
                </a:cubicBezTo>
                <a:lnTo>
                  <a:pt x="4948658" y="2545371"/>
                </a:lnTo>
                <a:cubicBezTo>
                  <a:pt x="4945367" y="2554287"/>
                  <a:pt x="4941394" y="2563009"/>
                  <a:pt x="4938561" y="2572055"/>
                </a:cubicBezTo>
                <a:cubicBezTo>
                  <a:pt x="4891773" y="2729547"/>
                  <a:pt x="4841279" y="2886230"/>
                  <a:pt x="4784773" y="3040688"/>
                </a:cubicBezTo>
                <a:cubicBezTo>
                  <a:pt x="4715843" y="3228242"/>
                  <a:pt x="4638756" y="3412454"/>
                  <a:pt x="4548619" y="3590655"/>
                </a:cubicBezTo>
                <a:cubicBezTo>
                  <a:pt x="4462746" y="3759964"/>
                  <a:pt x="4366041" y="3922386"/>
                  <a:pt x="4250458" y="4073335"/>
                </a:cubicBezTo>
                <a:cubicBezTo>
                  <a:pt x="4143196" y="4213270"/>
                  <a:pt x="4022542" y="4339769"/>
                  <a:pt x="3878856" y="4443497"/>
                </a:cubicBezTo>
                <a:cubicBezTo>
                  <a:pt x="3672253" y="4592420"/>
                  <a:pt x="3442748" y="4673364"/>
                  <a:pt x="3186482" y="4674862"/>
                </a:cubicBezTo>
                <a:cubicBezTo>
                  <a:pt x="3087070" y="4675486"/>
                  <a:pt x="2988750" y="4664545"/>
                  <a:pt x="2891514" y="4643798"/>
                </a:cubicBezTo>
                <a:cubicBezTo>
                  <a:pt x="2870856" y="4639405"/>
                  <a:pt x="2849760" y="4637412"/>
                  <a:pt x="2828700" y="4634421"/>
                </a:cubicBezTo>
                <a:lnTo>
                  <a:pt x="2731286" y="4606548"/>
                </a:lnTo>
                <a:cubicBezTo>
                  <a:pt x="2718686" y="4600669"/>
                  <a:pt x="2706718" y="4593450"/>
                  <a:pt x="2693489" y="4588909"/>
                </a:cubicBezTo>
                <a:cubicBezTo>
                  <a:pt x="2541742" y="4536644"/>
                  <a:pt x="2397648" y="4467102"/>
                  <a:pt x="2259009" y="4386231"/>
                </a:cubicBezTo>
                <a:cubicBezTo>
                  <a:pt x="2070375" y="4276141"/>
                  <a:pt x="1894025" y="4148078"/>
                  <a:pt x="1725702" y="4009169"/>
                </a:cubicBezTo>
                <a:cubicBezTo>
                  <a:pt x="1480355" y="3807273"/>
                  <a:pt x="1253033" y="3586266"/>
                  <a:pt x="1036282" y="3354127"/>
                </a:cubicBezTo>
                <a:cubicBezTo>
                  <a:pt x="826552" y="3129305"/>
                  <a:pt x="629305" y="2894407"/>
                  <a:pt x="456082" y="2640093"/>
                </a:cubicBezTo>
                <a:cubicBezTo>
                  <a:pt x="338927" y="2467797"/>
                  <a:pt x="234138" y="2288421"/>
                  <a:pt x="152116" y="2096603"/>
                </a:cubicBezTo>
                <a:cubicBezTo>
                  <a:pt x="86077" y="1942724"/>
                  <a:pt x="36464" y="1783939"/>
                  <a:pt x="13326" y="1617813"/>
                </a:cubicBezTo>
                <a:cubicBezTo>
                  <a:pt x="-5531" y="1481481"/>
                  <a:pt x="-5295" y="1345552"/>
                  <a:pt x="19959" y="1209959"/>
                </a:cubicBezTo>
                <a:cubicBezTo>
                  <a:pt x="24128" y="1187644"/>
                  <a:pt x="27546" y="1165366"/>
                  <a:pt x="31259" y="1142921"/>
                </a:cubicBezTo>
                <a:lnTo>
                  <a:pt x="53053" y="1066752"/>
                </a:lnTo>
                <a:cubicBezTo>
                  <a:pt x="55998" y="1060766"/>
                  <a:pt x="59555" y="1055213"/>
                  <a:pt x="61817" y="1049035"/>
                </a:cubicBezTo>
                <a:cubicBezTo>
                  <a:pt x="76541" y="1013058"/>
                  <a:pt x="89516" y="976325"/>
                  <a:pt x="105769" y="941036"/>
                </a:cubicBezTo>
                <a:cubicBezTo>
                  <a:pt x="170030" y="799921"/>
                  <a:pt x="260001" y="676524"/>
                  <a:pt x="367836" y="565570"/>
                </a:cubicBezTo>
                <a:cubicBezTo>
                  <a:pt x="506395" y="422961"/>
                  <a:pt x="666033" y="307366"/>
                  <a:pt x="837097" y="206920"/>
                </a:cubicBezTo>
                <a:cubicBezTo>
                  <a:pt x="929764" y="152419"/>
                  <a:pt x="1024798" y="102766"/>
                  <a:pt x="1121761" y="57235"/>
                </a:cubicBezTo>
                <a:close/>
              </a:path>
            </a:pathLst>
          </a:custGeom>
          <a:pattFill prst="pct10">
            <a:fgClr>
              <a:schemeClr val="tx1"/>
            </a:fgClr>
            <a:bgClr>
              <a:schemeClr val="bg1"/>
            </a:bgClr>
          </a:pattFill>
        </p:spPr>
        <p:txBody>
          <a:bodyPr wrap="square" anchor="ctr">
            <a:noAutofit/>
          </a:bodyPr>
          <a:lstStyle>
            <a:lvl1pPr algn="ctr">
              <a:defRPr sz="9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id="{CBF662B1-E5B0-48D2-B39D-43A30B4B8A46}"/>
              </a:ext>
            </a:extLst>
          </p:cNvPr>
          <p:cNvSpPr>
            <a:spLocks noGrp="1"/>
          </p:cNvSpPr>
          <p:nvPr>
            <p:ph type="title"/>
          </p:nvPr>
        </p:nvSpPr>
        <p:spPr>
          <a:xfrm>
            <a:off x="6858001" y="230316"/>
            <a:ext cx="5104003" cy="369332"/>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id="{B142802C-AEEA-4B92-B5B3-0756576E8F5B}"/>
              </a:ext>
            </a:extLst>
          </p:cNvPr>
          <p:cNvSpPr>
            <a:spLocks noGrp="1"/>
          </p:cNvSpPr>
          <p:nvPr>
            <p:ph type="body" sz="quarter" idx="17"/>
          </p:nvPr>
        </p:nvSpPr>
        <p:spPr>
          <a:xfrm>
            <a:off x="6858004" y="843419"/>
            <a:ext cx="5104001" cy="138499"/>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219087994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guide id="3" pos="1504" userDrawn="1">
          <p15:clr>
            <a:srgbClr val="FBAE40"/>
          </p15:clr>
        </p15:guide>
        <p15:guide id="4" pos="8736" userDrawn="1">
          <p15:clr>
            <a:srgbClr val="FBAE40"/>
          </p15:clr>
        </p15:guide>
        <p15:guide id="5" orient="horz" pos="480" userDrawn="1">
          <p15:clr>
            <a:srgbClr val="FBAE40"/>
          </p15:clr>
        </p15:guide>
        <p15:guide id="6" orient="horz"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8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386457" y="1260379"/>
            <a:ext cx="4397255" cy="4336451"/>
          </a:xfrm>
          <a:custGeom>
            <a:avLst/>
            <a:gdLst>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0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2396248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1241 h 4336451"/>
              <a:gd name="connsiteX1" fmla="*/ 1958741 w 7680637"/>
              <a:gd name="connsiteY1" fmla="*/ 4395 h 4336451"/>
              <a:gd name="connsiteX2" fmla="*/ 2359375 w 7680637"/>
              <a:gd name="connsiteY2" fmla="*/ 113712 h 4336451"/>
              <a:gd name="connsiteX3" fmla="*/ 2789536 w 7680637"/>
              <a:gd name="connsiteY3" fmla="*/ 374021 h 4336451"/>
              <a:gd name="connsiteX4" fmla="*/ 3102571 w 7680637"/>
              <a:gd name="connsiteY4" fmla="*/ 643354 h 4336451"/>
              <a:gd name="connsiteX5" fmla="*/ 3332895 w 7680637"/>
              <a:gd name="connsiteY5" fmla="*/ 879443 h 4336451"/>
              <a:gd name="connsiteX6" fmla="*/ 3547486 w 7680637"/>
              <a:gd name="connsiteY6" fmla="*/ 1125263 h 4336451"/>
              <a:gd name="connsiteX7" fmla="*/ 3559541 w 7680637"/>
              <a:gd name="connsiteY7" fmla="*/ 1136814 h 4336451"/>
              <a:gd name="connsiteX8" fmla="*/ 3594844 w 7680637"/>
              <a:gd name="connsiteY8" fmla="*/ 1179839 h 4336451"/>
              <a:gd name="connsiteX9" fmla="*/ 3608488 w 7680637"/>
              <a:gd name="connsiteY9" fmla="*/ 1199610 h 4336451"/>
              <a:gd name="connsiteX10" fmla="*/ 3859378 w 7680637"/>
              <a:gd name="connsiteY10" fmla="*/ 1530521 h 4336451"/>
              <a:gd name="connsiteX11" fmla="*/ 4127150 w 7680637"/>
              <a:gd name="connsiteY11" fmla="*/ 1957420 h 4336451"/>
              <a:gd name="connsiteX12" fmla="*/ 4318633 w 7680637"/>
              <a:gd name="connsiteY12" fmla="*/ 2395038 h 4336451"/>
              <a:gd name="connsiteX13" fmla="*/ 4397027 w 7680637"/>
              <a:gd name="connsiteY13" fmla="*/ 2829633 h 4336451"/>
              <a:gd name="connsiteX14" fmla="*/ 4225697 w 7680637"/>
              <a:gd name="connsiteY14" fmla="*/ 3419902 h 4336451"/>
              <a:gd name="connsiteX15" fmla="*/ 4062935 w 7680637"/>
              <a:gd name="connsiteY15" fmla="*/ 3609295 h 4336451"/>
              <a:gd name="connsiteX16" fmla="*/ 4026361 w 7680637"/>
              <a:gd name="connsiteY16" fmla="*/ 3648304 h 4336451"/>
              <a:gd name="connsiteX17" fmla="*/ 3960411 w 7680637"/>
              <a:gd name="connsiteY17" fmla="*/ 3702417 h 4336451"/>
              <a:gd name="connsiteX18" fmla="*/ 3930096 w 7680637"/>
              <a:gd name="connsiteY18" fmla="*/ 3720145 h 4336451"/>
              <a:gd name="connsiteX19" fmla="*/ 3581683 w 7680637"/>
              <a:gd name="connsiteY19" fmla="*/ 3923972 h 4336451"/>
              <a:gd name="connsiteX20" fmla="*/ 3065181 w 7680637"/>
              <a:gd name="connsiteY20" fmla="*/ 4112732 h 4336451"/>
              <a:gd name="connsiteX21" fmla="*/ 2281419 w 7680637"/>
              <a:gd name="connsiteY21" fmla="*/ 4276486 h 4336451"/>
              <a:gd name="connsiteX22" fmla="*/ 1509106 w 7680637"/>
              <a:gd name="connsiteY22" fmla="*/ 4336355 h 4336451"/>
              <a:gd name="connsiteX23" fmla="*/ 987175 w 7680637"/>
              <a:gd name="connsiteY23" fmla="*/ 4286597 h 4336451"/>
              <a:gd name="connsiteX24" fmla="*/ 589146 w 7680637"/>
              <a:gd name="connsiteY24" fmla="*/ 4153435 h 4336451"/>
              <a:gd name="connsiteX25" fmla="*/ 309879 w 7680637"/>
              <a:gd name="connsiteY25" fmla="*/ 3953535 h 4336451"/>
              <a:gd name="connsiteX26" fmla="*/ 268865 w 7680637"/>
              <a:gd name="connsiteY26" fmla="*/ 3913607 h 4336451"/>
              <a:gd name="connsiteX27" fmla="*/ 226554 w 7680637"/>
              <a:gd name="connsiteY27" fmla="*/ 3862040 h 4336451"/>
              <a:gd name="connsiteX28" fmla="*/ 218482 w 7680637"/>
              <a:gd name="connsiteY28" fmla="*/ 3847486 h 4336451"/>
              <a:gd name="connsiteX29" fmla="*/ 164739 w 7680637"/>
              <a:gd name="connsiteY29" fmla="*/ 3765333 h 4336451"/>
              <a:gd name="connsiteX30" fmla="*/ 30218 w 7680637"/>
              <a:gd name="connsiteY30" fmla="*/ 3404051 h 4336451"/>
              <a:gd name="connsiteX31" fmla="*/ 6563 w 7680637"/>
              <a:gd name="connsiteY31" fmla="*/ 2907338 h 4336451"/>
              <a:gd name="connsiteX32" fmla="*/ 94549 w 7680637"/>
              <a:gd name="connsiteY32" fmla="*/ 2373545 h 4336451"/>
              <a:gd name="connsiteX33" fmla="*/ 517592 w 7680637"/>
              <a:gd name="connsiteY33" fmla="*/ 1199844 h 4336451"/>
              <a:gd name="connsiteX34" fmla="*/ 854449 w 7680637"/>
              <a:gd name="connsiteY34" fmla="*/ 622773 h 4336451"/>
              <a:gd name="connsiteX35" fmla="*/ 1142073 w 7680637"/>
              <a:gd name="connsiteY35" fmla="*/ 301812 h 4336451"/>
              <a:gd name="connsiteX36" fmla="*/ 1156923 w 7680637"/>
              <a:gd name="connsiteY36" fmla="*/ 285659 h 4336451"/>
              <a:gd name="connsiteX37" fmla="*/ 1219944 w 7680637"/>
              <a:gd name="connsiteY37" fmla="*/ 233949 h 4336451"/>
              <a:gd name="connsiteX38" fmla="*/ 1243132 w 7680637"/>
              <a:gd name="connsiteY38" fmla="*/ 219158 h 4336451"/>
              <a:gd name="connsiteX39" fmla="*/ 1408343 w 7680637"/>
              <a:gd name="connsiteY39" fmla="*/ 113509 h 4336451"/>
              <a:gd name="connsiteX40" fmla="*/ 1815121 w 7680637"/>
              <a:gd name="connsiteY40" fmla="*/ 1241 h 4336451"/>
              <a:gd name="connsiteX41" fmla="*/ 5284387 w 7680637"/>
              <a:gd name="connsiteY41" fmla="*/ 1821783 h 4336451"/>
              <a:gd name="connsiteX42" fmla="*/ 7680637 w 7680637"/>
              <a:gd name="connsiteY42" fmla="*/ 1821783 h 4336451"/>
              <a:gd name="connsiteX43" fmla="*/ 5284387 w 7680637"/>
              <a:gd name="connsiteY43" fmla="*/ 1821783 h 4336451"/>
              <a:gd name="connsiteX0" fmla="*/ 1815121 w 4397254"/>
              <a:gd name="connsiteY0" fmla="*/ 1241 h 4336451"/>
              <a:gd name="connsiteX1" fmla="*/ 1958741 w 4397254"/>
              <a:gd name="connsiteY1" fmla="*/ 4395 h 4336451"/>
              <a:gd name="connsiteX2" fmla="*/ 2359375 w 4397254"/>
              <a:gd name="connsiteY2" fmla="*/ 113712 h 4336451"/>
              <a:gd name="connsiteX3" fmla="*/ 2789536 w 4397254"/>
              <a:gd name="connsiteY3" fmla="*/ 374021 h 4336451"/>
              <a:gd name="connsiteX4" fmla="*/ 3102571 w 4397254"/>
              <a:gd name="connsiteY4" fmla="*/ 643354 h 4336451"/>
              <a:gd name="connsiteX5" fmla="*/ 3332895 w 4397254"/>
              <a:gd name="connsiteY5" fmla="*/ 879443 h 4336451"/>
              <a:gd name="connsiteX6" fmla="*/ 3547486 w 4397254"/>
              <a:gd name="connsiteY6" fmla="*/ 1125263 h 4336451"/>
              <a:gd name="connsiteX7" fmla="*/ 3559541 w 4397254"/>
              <a:gd name="connsiteY7" fmla="*/ 1136814 h 4336451"/>
              <a:gd name="connsiteX8" fmla="*/ 3594844 w 4397254"/>
              <a:gd name="connsiteY8" fmla="*/ 1179839 h 4336451"/>
              <a:gd name="connsiteX9" fmla="*/ 3608488 w 4397254"/>
              <a:gd name="connsiteY9" fmla="*/ 1199610 h 4336451"/>
              <a:gd name="connsiteX10" fmla="*/ 3859378 w 4397254"/>
              <a:gd name="connsiteY10" fmla="*/ 1530521 h 4336451"/>
              <a:gd name="connsiteX11" fmla="*/ 4127150 w 4397254"/>
              <a:gd name="connsiteY11" fmla="*/ 1957420 h 4336451"/>
              <a:gd name="connsiteX12" fmla="*/ 4318633 w 4397254"/>
              <a:gd name="connsiteY12" fmla="*/ 2395038 h 4336451"/>
              <a:gd name="connsiteX13" fmla="*/ 4397027 w 4397254"/>
              <a:gd name="connsiteY13" fmla="*/ 2829633 h 4336451"/>
              <a:gd name="connsiteX14" fmla="*/ 4225697 w 4397254"/>
              <a:gd name="connsiteY14" fmla="*/ 3419902 h 4336451"/>
              <a:gd name="connsiteX15" fmla="*/ 4062935 w 4397254"/>
              <a:gd name="connsiteY15" fmla="*/ 3609295 h 4336451"/>
              <a:gd name="connsiteX16" fmla="*/ 4026361 w 4397254"/>
              <a:gd name="connsiteY16" fmla="*/ 3648304 h 4336451"/>
              <a:gd name="connsiteX17" fmla="*/ 3960411 w 4397254"/>
              <a:gd name="connsiteY17" fmla="*/ 3702417 h 4336451"/>
              <a:gd name="connsiteX18" fmla="*/ 3930096 w 4397254"/>
              <a:gd name="connsiteY18" fmla="*/ 3720145 h 4336451"/>
              <a:gd name="connsiteX19" fmla="*/ 3581683 w 4397254"/>
              <a:gd name="connsiteY19" fmla="*/ 3923972 h 4336451"/>
              <a:gd name="connsiteX20" fmla="*/ 3065181 w 4397254"/>
              <a:gd name="connsiteY20" fmla="*/ 4112732 h 4336451"/>
              <a:gd name="connsiteX21" fmla="*/ 2281419 w 4397254"/>
              <a:gd name="connsiteY21" fmla="*/ 4276486 h 4336451"/>
              <a:gd name="connsiteX22" fmla="*/ 1509106 w 4397254"/>
              <a:gd name="connsiteY22" fmla="*/ 4336355 h 4336451"/>
              <a:gd name="connsiteX23" fmla="*/ 987175 w 4397254"/>
              <a:gd name="connsiteY23" fmla="*/ 4286597 h 4336451"/>
              <a:gd name="connsiteX24" fmla="*/ 589146 w 4397254"/>
              <a:gd name="connsiteY24" fmla="*/ 4153435 h 4336451"/>
              <a:gd name="connsiteX25" fmla="*/ 309879 w 4397254"/>
              <a:gd name="connsiteY25" fmla="*/ 3953535 h 4336451"/>
              <a:gd name="connsiteX26" fmla="*/ 268865 w 4397254"/>
              <a:gd name="connsiteY26" fmla="*/ 3913607 h 4336451"/>
              <a:gd name="connsiteX27" fmla="*/ 226554 w 4397254"/>
              <a:gd name="connsiteY27" fmla="*/ 3862040 h 4336451"/>
              <a:gd name="connsiteX28" fmla="*/ 218482 w 4397254"/>
              <a:gd name="connsiteY28" fmla="*/ 3847486 h 4336451"/>
              <a:gd name="connsiteX29" fmla="*/ 164739 w 4397254"/>
              <a:gd name="connsiteY29" fmla="*/ 3765333 h 4336451"/>
              <a:gd name="connsiteX30" fmla="*/ 30218 w 4397254"/>
              <a:gd name="connsiteY30" fmla="*/ 3404051 h 4336451"/>
              <a:gd name="connsiteX31" fmla="*/ 6563 w 4397254"/>
              <a:gd name="connsiteY31" fmla="*/ 2907338 h 4336451"/>
              <a:gd name="connsiteX32" fmla="*/ 94549 w 4397254"/>
              <a:gd name="connsiteY32" fmla="*/ 2373545 h 4336451"/>
              <a:gd name="connsiteX33" fmla="*/ 517592 w 4397254"/>
              <a:gd name="connsiteY33" fmla="*/ 1199844 h 4336451"/>
              <a:gd name="connsiteX34" fmla="*/ 854449 w 4397254"/>
              <a:gd name="connsiteY34" fmla="*/ 622773 h 4336451"/>
              <a:gd name="connsiteX35" fmla="*/ 1142073 w 4397254"/>
              <a:gd name="connsiteY35" fmla="*/ 301812 h 4336451"/>
              <a:gd name="connsiteX36" fmla="*/ 1156923 w 4397254"/>
              <a:gd name="connsiteY36" fmla="*/ 285659 h 4336451"/>
              <a:gd name="connsiteX37" fmla="*/ 1219944 w 4397254"/>
              <a:gd name="connsiteY37" fmla="*/ 233949 h 4336451"/>
              <a:gd name="connsiteX38" fmla="*/ 1243132 w 4397254"/>
              <a:gd name="connsiteY38" fmla="*/ 219158 h 4336451"/>
              <a:gd name="connsiteX39" fmla="*/ 1408343 w 4397254"/>
              <a:gd name="connsiteY39" fmla="*/ 113509 h 4336451"/>
              <a:gd name="connsiteX40" fmla="*/ 1815121 w 4397254"/>
              <a:gd name="connsiteY40" fmla="*/ 1241 h 433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397254" h="4336451">
                <a:moveTo>
                  <a:pt x="1815121" y="1241"/>
                </a:moveTo>
                <a:cubicBezTo>
                  <a:pt x="1862318" y="-1137"/>
                  <a:pt x="1910189" y="-102"/>
                  <a:pt x="1958741" y="4395"/>
                </a:cubicBezTo>
                <a:cubicBezTo>
                  <a:pt x="2098628" y="17457"/>
                  <a:pt x="2231379" y="57015"/>
                  <a:pt x="2359375" y="113712"/>
                </a:cubicBezTo>
                <a:cubicBezTo>
                  <a:pt x="2513869" y="182282"/>
                  <a:pt x="2655218" y="272222"/>
                  <a:pt x="2789536" y="374021"/>
                </a:cubicBezTo>
                <a:cubicBezTo>
                  <a:pt x="2899333" y="457559"/>
                  <a:pt x="3002950" y="548021"/>
                  <a:pt x="3102571" y="643354"/>
                </a:cubicBezTo>
                <a:cubicBezTo>
                  <a:pt x="3182202" y="719351"/>
                  <a:pt x="3259630" y="797689"/>
                  <a:pt x="3332895" y="879443"/>
                </a:cubicBezTo>
                <a:cubicBezTo>
                  <a:pt x="3405797" y="960434"/>
                  <a:pt x="3476103" y="1043291"/>
                  <a:pt x="3547486" y="1125263"/>
                </a:cubicBezTo>
                <a:cubicBezTo>
                  <a:pt x="3551145" y="1129408"/>
                  <a:pt x="3555574" y="1132922"/>
                  <a:pt x="3559541" y="1136814"/>
                </a:cubicBezTo>
                <a:lnTo>
                  <a:pt x="3594844" y="1179839"/>
                </a:lnTo>
                <a:cubicBezTo>
                  <a:pt x="3599444" y="1186387"/>
                  <a:pt x="3603581" y="1193315"/>
                  <a:pt x="3608488" y="1199610"/>
                </a:cubicBezTo>
                <a:cubicBezTo>
                  <a:pt x="3695148" y="1307428"/>
                  <a:pt x="3779473" y="1417425"/>
                  <a:pt x="3859378" y="1530521"/>
                </a:cubicBezTo>
                <a:cubicBezTo>
                  <a:pt x="3956253" y="1668069"/>
                  <a:pt x="4046908" y="1809665"/>
                  <a:pt x="4127150" y="1957420"/>
                </a:cubicBezTo>
                <a:cubicBezTo>
                  <a:pt x="4203278" y="2097963"/>
                  <a:pt x="4269448" y="2242711"/>
                  <a:pt x="4318633" y="2395038"/>
                </a:cubicBezTo>
                <a:cubicBezTo>
                  <a:pt x="4364176" y="2536327"/>
                  <a:pt x="4394000" y="2680458"/>
                  <a:pt x="4397027" y="2829633"/>
                </a:cubicBezTo>
                <a:cubicBezTo>
                  <a:pt x="4401223" y="3044022"/>
                  <a:pt x="4347375" y="3241718"/>
                  <a:pt x="4225697" y="3419902"/>
                </a:cubicBezTo>
                <a:cubicBezTo>
                  <a:pt x="4178523" y="3489045"/>
                  <a:pt x="4123864" y="3551893"/>
                  <a:pt x="4062935" y="3609295"/>
                </a:cubicBezTo>
                <a:cubicBezTo>
                  <a:pt x="4050000" y="3621498"/>
                  <a:pt x="4038518" y="3635153"/>
                  <a:pt x="4026361" y="3648304"/>
                </a:cubicBezTo>
                <a:lnTo>
                  <a:pt x="3960411" y="3702417"/>
                </a:lnTo>
                <a:cubicBezTo>
                  <a:pt x="3950306" y="3708327"/>
                  <a:pt x="3939576" y="3713159"/>
                  <a:pt x="3930096" y="3720145"/>
                </a:cubicBezTo>
                <a:cubicBezTo>
                  <a:pt x="3821235" y="3800204"/>
                  <a:pt x="3704076" y="3866689"/>
                  <a:pt x="3581683" y="3923972"/>
                </a:cubicBezTo>
                <a:cubicBezTo>
                  <a:pt x="3415114" y="4001885"/>
                  <a:pt x="3241981" y="4062685"/>
                  <a:pt x="3065181" y="4112732"/>
                </a:cubicBezTo>
                <a:cubicBezTo>
                  <a:pt x="2807878" y="4185956"/>
                  <a:pt x="2545972" y="4237546"/>
                  <a:pt x="2281419" y="4276486"/>
                </a:cubicBezTo>
                <a:cubicBezTo>
                  <a:pt x="2025295" y="4314067"/>
                  <a:pt x="1768171" y="4338178"/>
                  <a:pt x="1509106" y="4336355"/>
                </a:cubicBezTo>
                <a:cubicBezTo>
                  <a:pt x="1333688" y="4334979"/>
                  <a:pt x="1159288" y="4321650"/>
                  <a:pt x="987175" y="4286597"/>
                </a:cubicBezTo>
                <a:cubicBezTo>
                  <a:pt x="848988" y="4258642"/>
                  <a:pt x="715269" y="4216963"/>
                  <a:pt x="589146" y="4153435"/>
                </a:cubicBezTo>
                <a:cubicBezTo>
                  <a:pt x="485705" y="4101209"/>
                  <a:pt x="391685" y="4035954"/>
                  <a:pt x="309879" y="3953535"/>
                </a:cubicBezTo>
                <a:cubicBezTo>
                  <a:pt x="296422" y="3939962"/>
                  <a:pt x="282631" y="3926927"/>
                  <a:pt x="268865" y="3913607"/>
                </a:cubicBezTo>
                <a:lnTo>
                  <a:pt x="226554" y="3862040"/>
                </a:lnTo>
                <a:cubicBezTo>
                  <a:pt x="223819" y="3857134"/>
                  <a:pt x="221677" y="3852011"/>
                  <a:pt x="218482" y="3847486"/>
                </a:cubicBezTo>
                <a:cubicBezTo>
                  <a:pt x="200618" y="3820062"/>
                  <a:pt x="181393" y="3793486"/>
                  <a:pt x="164739" y="3765333"/>
                </a:cubicBezTo>
                <a:cubicBezTo>
                  <a:pt x="97787" y="3653256"/>
                  <a:pt x="55417" y="3531860"/>
                  <a:pt x="30218" y="3404051"/>
                </a:cubicBezTo>
                <a:cubicBezTo>
                  <a:pt x="-2189" y="3239807"/>
                  <a:pt x="-5794" y="3073902"/>
                  <a:pt x="6563" y="2907338"/>
                </a:cubicBezTo>
                <a:cubicBezTo>
                  <a:pt x="19827" y="2726795"/>
                  <a:pt x="51054" y="2548982"/>
                  <a:pt x="94549" y="2373545"/>
                </a:cubicBezTo>
                <a:cubicBezTo>
                  <a:pt x="194967" y="1967715"/>
                  <a:pt x="339184" y="1577558"/>
                  <a:pt x="517592" y="1199844"/>
                </a:cubicBezTo>
                <a:cubicBezTo>
                  <a:pt x="613094" y="997614"/>
                  <a:pt x="722388" y="803389"/>
                  <a:pt x="854449" y="622773"/>
                </a:cubicBezTo>
                <a:cubicBezTo>
                  <a:pt x="939492" y="506147"/>
                  <a:pt x="1031609" y="395627"/>
                  <a:pt x="1142073" y="301812"/>
                </a:cubicBezTo>
                <a:cubicBezTo>
                  <a:pt x="1147644" y="296975"/>
                  <a:pt x="1152023" y="291001"/>
                  <a:pt x="1156923" y="285659"/>
                </a:cubicBezTo>
                <a:lnTo>
                  <a:pt x="1219944" y="233949"/>
                </a:lnTo>
                <a:cubicBezTo>
                  <a:pt x="1227812" y="229081"/>
                  <a:pt x="1236043" y="224975"/>
                  <a:pt x="1243132" y="219158"/>
                </a:cubicBezTo>
                <a:cubicBezTo>
                  <a:pt x="1294110" y="177594"/>
                  <a:pt x="1350030" y="143622"/>
                  <a:pt x="1408343" y="113509"/>
                </a:cubicBezTo>
                <a:cubicBezTo>
                  <a:pt x="1538001" y="46229"/>
                  <a:pt x="1673529" y="8376"/>
                  <a:pt x="1815121" y="1241"/>
                </a:cubicBezTo>
                <a:close/>
              </a:path>
            </a:pathLst>
          </a:custGeom>
          <a:pattFill prst="pct10">
            <a:fgClr>
              <a:schemeClr val="tx1"/>
            </a:fgClr>
            <a:bgClr>
              <a:schemeClr val="bg1"/>
            </a:bgClr>
          </a:pattFill>
        </p:spPr>
        <p:txBody>
          <a:bodyPr wrap="square" anchor="ctr">
            <a:noAutofit/>
          </a:bodyPr>
          <a:lstStyle>
            <a:lvl1pPr algn="ctr">
              <a:defRPr sz="9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id="{96C377F9-FA26-4D7D-8C15-5737D0343826}"/>
              </a:ext>
            </a:extLst>
          </p:cNvPr>
          <p:cNvSpPr>
            <a:spLocks noGrp="1"/>
          </p:cNvSpPr>
          <p:nvPr>
            <p:ph type="title"/>
          </p:nvPr>
        </p:nvSpPr>
        <p:spPr>
          <a:xfrm>
            <a:off x="4296227" y="230317"/>
            <a:ext cx="7665776" cy="369332"/>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id="{8DEAE418-52E2-4DE7-A31D-BA3FF67BE6A9}"/>
              </a:ext>
            </a:extLst>
          </p:cNvPr>
          <p:cNvSpPr>
            <a:spLocks noGrp="1"/>
          </p:cNvSpPr>
          <p:nvPr>
            <p:ph type="body" sz="quarter" idx="17"/>
          </p:nvPr>
        </p:nvSpPr>
        <p:spPr>
          <a:xfrm>
            <a:off x="4296227" y="843419"/>
            <a:ext cx="7665776" cy="138499"/>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277247782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guide id="3" pos="1504" userDrawn="1">
          <p15:clr>
            <a:srgbClr val="FBAE40"/>
          </p15:clr>
        </p15:guide>
        <p15:guide id="4" pos="8736" userDrawn="1">
          <p15:clr>
            <a:srgbClr val="FBAE40"/>
          </p15:clr>
        </p15:guide>
        <p15:guide id="5" orient="horz" pos="480" userDrawn="1">
          <p15:clr>
            <a:srgbClr val="FBAE40"/>
          </p15:clr>
        </p15:guide>
        <p15:guide id="6" orient="horz"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2755FD07-32D4-4A25-A7A2-13926211B760}"/>
              </a:ext>
            </a:extLst>
          </p:cNvPr>
          <p:cNvSpPr>
            <a:spLocks noGrp="1"/>
          </p:cNvSpPr>
          <p:nvPr>
            <p:ph type="pic" sz="quarter" idx="16" hasCustomPrompt="1"/>
          </p:nvPr>
        </p:nvSpPr>
        <p:spPr>
          <a:xfrm>
            <a:off x="0" y="1"/>
            <a:ext cx="12192000" cy="3187700"/>
          </a:xfrm>
          <a:prstGeom prst="rect">
            <a:avLst/>
          </a:prstGeom>
          <a:solidFill>
            <a:schemeClr val="bg1">
              <a:lumMod val="85000"/>
            </a:schemeClr>
          </a:solidFill>
        </p:spPr>
        <p:txBody>
          <a:bodyPr wrap="square" anchor="ctr">
            <a:noAutofit/>
          </a:bodyPr>
          <a:lstStyle>
            <a:lvl1pPr algn="ctr">
              <a:defRPr sz="900" b="0" i="0">
                <a:latin typeface="Titillium" charset="0"/>
                <a:ea typeface="Titillium" charset="0"/>
                <a:cs typeface="Titillium" charset="0"/>
              </a:defRPr>
            </a:lvl1pPr>
          </a:lstStyle>
          <a:p>
            <a:r>
              <a:rPr lang="en-US" dirty="0"/>
              <a:t>Insert Image</a:t>
            </a:r>
          </a:p>
        </p:txBody>
      </p:sp>
      <p:sp>
        <p:nvSpPr>
          <p:cNvPr id="6" name="Title 1">
            <a:extLst>
              <a:ext uri="{FF2B5EF4-FFF2-40B4-BE49-F238E27FC236}">
                <a16:creationId xmlns:a16="http://schemas.microsoft.com/office/drawing/2014/main" id="{51F7B841-B016-4EA6-B35A-56DF9234E7A6}"/>
              </a:ext>
            </a:extLst>
          </p:cNvPr>
          <p:cNvSpPr>
            <a:spLocks noGrp="1"/>
          </p:cNvSpPr>
          <p:nvPr>
            <p:ph type="title"/>
          </p:nvPr>
        </p:nvSpPr>
        <p:spPr>
          <a:xfrm>
            <a:off x="723900" y="230317"/>
            <a:ext cx="10820400" cy="369332"/>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8" name="Text Placeholder 5">
            <a:extLst>
              <a:ext uri="{FF2B5EF4-FFF2-40B4-BE49-F238E27FC236}">
                <a16:creationId xmlns:a16="http://schemas.microsoft.com/office/drawing/2014/main" id="{4E848E19-DAF4-49BB-B133-74C5F04FFF33}"/>
              </a:ext>
            </a:extLst>
          </p:cNvPr>
          <p:cNvSpPr>
            <a:spLocks noGrp="1"/>
          </p:cNvSpPr>
          <p:nvPr>
            <p:ph type="body" sz="quarter" idx="17"/>
          </p:nvPr>
        </p:nvSpPr>
        <p:spPr>
          <a:xfrm>
            <a:off x="723901" y="843419"/>
            <a:ext cx="10820400" cy="138499"/>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243128835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guide id="3" pos="1504" userDrawn="1">
          <p15:clr>
            <a:srgbClr val="FBAE40"/>
          </p15:clr>
        </p15:guide>
        <p15:guide id="4" pos="8736" userDrawn="1">
          <p15:clr>
            <a:srgbClr val="FBAE40"/>
          </p15:clr>
        </p15:guide>
        <p15:guide id="5" orient="horz" pos="480" userDrawn="1">
          <p15:clr>
            <a:srgbClr val="FBAE40"/>
          </p15:clr>
        </p15:guide>
        <p15:guide id="6" orient="horz"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빈 화면">
    <p:bg>
      <p:bgPr>
        <a:solidFill>
          <a:schemeClr val="bg1"/>
        </a:solid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날짜 개체 틀 1"/>
          <p:cNvSpPr>
            <a:spLocks noGrp="1"/>
          </p:cNvSpPr>
          <p:nvPr>
            <p:ph type="dt" sz="half" idx="10"/>
          </p:nvPr>
        </p:nvSpPr>
        <p:spPr/>
        <p:txBody>
          <a:bodyPr/>
          <a:lstStyle/>
          <a:p>
            <a:fld id="{D83DFFD3-5D4B-4237-9445-2A2777F1C221}" type="datetime1">
              <a:rPr lang="en-US" altLang="ko-KR" smtClean="0"/>
              <a:pPr/>
              <a:t>2/22/2023</a:t>
            </a:fld>
            <a:endParaRPr lang="ko-KR" altLang="en-US"/>
          </a:p>
        </p:txBody>
      </p:sp>
      <p:sp>
        <p:nvSpPr>
          <p:cNvPr id="3" name="바닥글 개체 틀 2"/>
          <p:cNvSpPr>
            <a:spLocks noGrp="1"/>
          </p:cNvSpPr>
          <p:nvPr>
            <p:ph type="ftr" sz="quarter" idx="11"/>
          </p:nvPr>
        </p:nvSpPr>
        <p:spPr/>
        <p:txBody>
          <a:bodyPr/>
          <a:lstStyle/>
          <a:p>
            <a:r>
              <a:rPr lang="en-US" altLang="ko-KR"/>
              <a:t>Textile Fusion Limited </a:t>
            </a:r>
            <a:endParaRPr lang="ko-KR" altLang="en-US"/>
          </a:p>
        </p:txBody>
      </p:sp>
      <p:sp>
        <p:nvSpPr>
          <p:cNvPr id="4" name="슬라이드 번호 개체 틀 3"/>
          <p:cNvSpPr>
            <a:spLocks noGrp="1"/>
          </p:cNvSpPr>
          <p:nvPr>
            <p:ph type="sldNum" sz="quarter" idx="12"/>
          </p:nvPr>
        </p:nvSpPr>
        <p:spPr/>
        <p:txBody>
          <a:bodyPr/>
          <a:lstStyle/>
          <a:p>
            <a:fld id="{EE6BC638-39B7-4287-91A7-2A3DDA573295}" type="slidenum">
              <a:rPr lang="ko-KR" altLang="en-US" smtClean="0"/>
              <a:pPr/>
              <a:t>‹#›</a:t>
            </a:fld>
            <a:endParaRPr lang="ko-KR"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13404" name="think-cell Slide" r:id="rId4" imgW="360" imgH="360" progId="">
                  <p:embed/>
                </p:oleObj>
              </mc:Choice>
              <mc:Fallback>
                <p:oleObj name="think-cell Slide" r:id="rId4" imgW="360" imgH="360" progId="">
                  <p:embed/>
                  <p:pic>
                    <p:nvPicPr>
                      <p:cNvPr id="0" name="Picture 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3"/>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lang="en-US" sz="18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endParaRPr lang="en-GB" dirty="0"/>
          </a:p>
        </p:txBody>
      </p:sp>
      <p:sp>
        <p:nvSpPr>
          <p:cNvPr id="7" name="Text Placeholder 5">
            <a:extLst>
              <a:ext uri="{FF2B5EF4-FFF2-40B4-BE49-F238E27FC236}">
                <a16:creationId xmlns:a16="http://schemas.microsoft.com/office/drawing/2014/main" id="{502DCD3E-688B-4163-B796-566F5536398E}"/>
              </a:ext>
            </a:extLst>
          </p:cNvPr>
          <p:cNvSpPr>
            <a:spLocks noGrp="1"/>
          </p:cNvSpPr>
          <p:nvPr>
            <p:ph type="body" sz="quarter" idx="17"/>
          </p:nvPr>
        </p:nvSpPr>
        <p:spPr>
          <a:xfrm>
            <a:off x="723901" y="843419"/>
            <a:ext cx="10820400" cy="138499"/>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28388259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AB6AC99-4036-4871-B44A-163F75919769}"/>
              </a:ext>
            </a:extLst>
          </p:cNvPr>
          <p:cNvSpPr>
            <a:spLocks noGrp="1"/>
          </p:cNvSpPr>
          <p:nvPr>
            <p:ph type="title"/>
          </p:nvPr>
        </p:nvSpPr>
        <p:spPr>
          <a:xfrm>
            <a:off x="723902" y="230317"/>
            <a:ext cx="5219700" cy="369332"/>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9" name="Text Placeholder 5">
            <a:extLst>
              <a:ext uri="{FF2B5EF4-FFF2-40B4-BE49-F238E27FC236}">
                <a16:creationId xmlns:a16="http://schemas.microsoft.com/office/drawing/2014/main" id="{8806BEB1-554E-441B-8143-1262D1DD2187}"/>
              </a:ext>
            </a:extLst>
          </p:cNvPr>
          <p:cNvSpPr>
            <a:spLocks noGrp="1"/>
          </p:cNvSpPr>
          <p:nvPr>
            <p:ph type="body" sz="quarter" idx="17"/>
          </p:nvPr>
        </p:nvSpPr>
        <p:spPr>
          <a:xfrm>
            <a:off x="723901" y="843419"/>
            <a:ext cx="5219699" cy="138499"/>
          </a:xfrm>
        </p:spPr>
        <p:txBody>
          <a:bodyPr lIns="90000"/>
          <a:lstStyle>
            <a:lvl1pPr>
              <a:defRPr>
                <a:solidFill>
                  <a:schemeClr val="tx1"/>
                </a:solidFill>
              </a:defRPr>
            </a:lvl1pPr>
          </a:lstStyle>
          <a:p>
            <a:pPr lvl="0"/>
            <a:r>
              <a:rPr lang="en-US" dirty="0"/>
              <a:t>Edit Master text styles</a:t>
            </a:r>
          </a:p>
        </p:txBody>
      </p:sp>
      <p:sp>
        <p:nvSpPr>
          <p:cNvPr id="5" name="Picture Placeholder 5">
            <a:extLst>
              <a:ext uri="{FF2B5EF4-FFF2-40B4-BE49-F238E27FC236}">
                <a16:creationId xmlns:a16="http://schemas.microsoft.com/office/drawing/2014/main" id="{0A28A75D-08F0-4C74-9485-2A3A830F979B}"/>
              </a:ext>
            </a:extLst>
          </p:cNvPr>
          <p:cNvSpPr>
            <a:spLocks noGrp="1"/>
          </p:cNvSpPr>
          <p:nvPr>
            <p:ph type="pic" sz="quarter" idx="13" hasCustomPrompt="1"/>
          </p:nvPr>
        </p:nvSpPr>
        <p:spPr bwMode="auto">
          <a:xfrm>
            <a:off x="4639335" y="-21085"/>
            <a:ext cx="7552668" cy="6879085"/>
          </a:xfrm>
          <a:custGeom>
            <a:avLst/>
            <a:gdLst>
              <a:gd name="connsiteX0" fmla="*/ 2971144 w 8527206"/>
              <a:gd name="connsiteY0" fmla="*/ 0 h 6858000"/>
              <a:gd name="connsiteX1" fmla="*/ 7752484 w 8527206"/>
              <a:gd name="connsiteY1" fmla="*/ 0 h 6858000"/>
              <a:gd name="connsiteX2" fmla="*/ 7863964 w 8527206"/>
              <a:gd name="connsiteY2" fmla="*/ 173070 h 6858000"/>
              <a:gd name="connsiteX3" fmla="*/ 8367759 w 8527206"/>
              <a:gd name="connsiteY3" fmla="*/ 1196300 h 6858000"/>
              <a:gd name="connsiteX4" fmla="*/ 8527206 w 8527206"/>
              <a:gd name="connsiteY4" fmla="*/ 1631659 h 6858000"/>
              <a:gd name="connsiteX5" fmla="*/ 8527206 w 8527206"/>
              <a:gd name="connsiteY5" fmla="*/ 6858000 h 6858000"/>
              <a:gd name="connsiteX6" fmla="*/ 1968306 w 8527206"/>
              <a:gd name="connsiteY6" fmla="*/ 6858000 h 6858000"/>
              <a:gd name="connsiteX7" fmla="*/ 1963205 w 8527206"/>
              <a:gd name="connsiteY7" fmla="*/ 6855630 h 6858000"/>
              <a:gd name="connsiteX8" fmla="*/ 1098144 w 8527206"/>
              <a:gd name="connsiteY8" fmla="*/ 6340068 h 6858000"/>
              <a:gd name="connsiteX9" fmla="*/ 430707 w 8527206"/>
              <a:gd name="connsiteY9" fmla="*/ 5690993 h 6858000"/>
              <a:gd name="connsiteX10" fmla="*/ 561 w 8527206"/>
              <a:gd name="connsiteY10" fmla="*/ 4468699 h 6858000"/>
              <a:gd name="connsiteX11" fmla="*/ 47377 w 8527206"/>
              <a:gd name="connsiteY11" fmla="*/ 3944319 h 6858000"/>
              <a:gd name="connsiteX12" fmla="*/ 62248 w 8527206"/>
              <a:gd name="connsiteY12" fmla="*/ 3832572 h 6858000"/>
              <a:gd name="connsiteX13" fmla="*/ 108969 w 8527206"/>
              <a:gd name="connsiteY13" fmla="*/ 3658898 h 6858000"/>
              <a:gd name="connsiteX14" fmla="*/ 139210 w 8527206"/>
              <a:gd name="connsiteY14" fmla="*/ 3591318 h 6858000"/>
              <a:gd name="connsiteX15" fmla="*/ 486668 w 8527206"/>
              <a:gd name="connsiteY15" fmla="*/ 2814496 h 6858000"/>
              <a:gd name="connsiteX16" fmla="*/ 1140836 w 8527206"/>
              <a:gd name="connsiteY16" fmla="*/ 1857357 h 6858000"/>
              <a:gd name="connsiteX17" fmla="*/ 2283959 w 8527206"/>
              <a:gd name="connsiteY17" fmla="*/ 615316 h 6858000"/>
              <a:gd name="connsiteX18" fmla="*/ 2889393 w 8527206"/>
              <a:gd name="connsiteY18" fmla="*/ 66398 h 6858000"/>
              <a:gd name="connsiteX0" fmla="*/ 2971144 w 8548017"/>
              <a:gd name="connsiteY0" fmla="*/ 0 h 6858000"/>
              <a:gd name="connsiteX1" fmla="*/ 7752484 w 8548017"/>
              <a:gd name="connsiteY1" fmla="*/ 0 h 6858000"/>
              <a:gd name="connsiteX2" fmla="*/ 7863964 w 8548017"/>
              <a:gd name="connsiteY2" fmla="*/ 173070 h 6858000"/>
              <a:gd name="connsiteX3" fmla="*/ 8548017 w 8548017"/>
              <a:gd name="connsiteY3" fmla="*/ 1036643 h 6858000"/>
              <a:gd name="connsiteX4" fmla="*/ 8527206 w 8548017"/>
              <a:gd name="connsiteY4" fmla="*/ 1631659 h 6858000"/>
              <a:gd name="connsiteX5" fmla="*/ 8527206 w 8548017"/>
              <a:gd name="connsiteY5" fmla="*/ 6858000 h 6858000"/>
              <a:gd name="connsiteX6" fmla="*/ 1968306 w 8548017"/>
              <a:gd name="connsiteY6" fmla="*/ 6858000 h 6858000"/>
              <a:gd name="connsiteX7" fmla="*/ 1963205 w 8548017"/>
              <a:gd name="connsiteY7" fmla="*/ 6855630 h 6858000"/>
              <a:gd name="connsiteX8" fmla="*/ 1098144 w 8548017"/>
              <a:gd name="connsiteY8" fmla="*/ 6340068 h 6858000"/>
              <a:gd name="connsiteX9" fmla="*/ 430707 w 8548017"/>
              <a:gd name="connsiteY9" fmla="*/ 5690993 h 6858000"/>
              <a:gd name="connsiteX10" fmla="*/ 561 w 8548017"/>
              <a:gd name="connsiteY10" fmla="*/ 4468699 h 6858000"/>
              <a:gd name="connsiteX11" fmla="*/ 47377 w 8548017"/>
              <a:gd name="connsiteY11" fmla="*/ 3944319 h 6858000"/>
              <a:gd name="connsiteX12" fmla="*/ 62248 w 8548017"/>
              <a:gd name="connsiteY12" fmla="*/ 3832572 h 6858000"/>
              <a:gd name="connsiteX13" fmla="*/ 108969 w 8548017"/>
              <a:gd name="connsiteY13" fmla="*/ 3658898 h 6858000"/>
              <a:gd name="connsiteX14" fmla="*/ 139210 w 8548017"/>
              <a:gd name="connsiteY14" fmla="*/ 3591318 h 6858000"/>
              <a:gd name="connsiteX15" fmla="*/ 486668 w 8548017"/>
              <a:gd name="connsiteY15" fmla="*/ 2814496 h 6858000"/>
              <a:gd name="connsiteX16" fmla="*/ 1140836 w 8548017"/>
              <a:gd name="connsiteY16" fmla="*/ 1857357 h 6858000"/>
              <a:gd name="connsiteX17" fmla="*/ 2283959 w 8548017"/>
              <a:gd name="connsiteY17" fmla="*/ 615316 h 6858000"/>
              <a:gd name="connsiteX18" fmla="*/ 2889393 w 8548017"/>
              <a:gd name="connsiteY18" fmla="*/ 66398 h 6858000"/>
              <a:gd name="connsiteX19" fmla="*/ 2971144 w 8548017"/>
              <a:gd name="connsiteY19" fmla="*/ 0 h 6858000"/>
              <a:gd name="connsiteX0" fmla="*/ 2971144 w 8548017"/>
              <a:gd name="connsiteY0" fmla="*/ 73672 h 6931672"/>
              <a:gd name="connsiteX1" fmla="*/ 7752484 w 8548017"/>
              <a:gd name="connsiteY1" fmla="*/ 73672 h 6931672"/>
              <a:gd name="connsiteX2" fmla="*/ 8453900 w 8548017"/>
              <a:gd name="connsiteY2" fmla="*/ 0 h 6931672"/>
              <a:gd name="connsiteX3" fmla="*/ 8548017 w 8548017"/>
              <a:gd name="connsiteY3" fmla="*/ 1110315 h 6931672"/>
              <a:gd name="connsiteX4" fmla="*/ 8527206 w 8548017"/>
              <a:gd name="connsiteY4" fmla="*/ 1705331 h 6931672"/>
              <a:gd name="connsiteX5" fmla="*/ 8527206 w 8548017"/>
              <a:gd name="connsiteY5" fmla="*/ 6931672 h 6931672"/>
              <a:gd name="connsiteX6" fmla="*/ 1968306 w 8548017"/>
              <a:gd name="connsiteY6" fmla="*/ 6931672 h 6931672"/>
              <a:gd name="connsiteX7" fmla="*/ 1963205 w 8548017"/>
              <a:gd name="connsiteY7" fmla="*/ 6929302 h 6931672"/>
              <a:gd name="connsiteX8" fmla="*/ 1098144 w 8548017"/>
              <a:gd name="connsiteY8" fmla="*/ 6413740 h 6931672"/>
              <a:gd name="connsiteX9" fmla="*/ 430707 w 8548017"/>
              <a:gd name="connsiteY9" fmla="*/ 5764665 h 6931672"/>
              <a:gd name="connsiteX10" fmla="*/ 561 w 8548017"/>
              <a:gd name="connsiteY10" fmla="*/ 4542371 h 6931672"/>
              <a:gd name="connsiteX11" fmla="*/ 47377 w 8548017"/>
              <a:gd name="connsiteY11" fmla="*/ 4017991 h 6931672"/>
              <a:gd name="connsiteX12" fmla="*/ 62248 w 8548017"/>
              <a:gd name="connsiteY12" fmla="*/ 3906244 h 6931672"/>
              <a:gd name="connsiteX13" fmla="*/ 108969 w 8548017"/>
              <a:gd name="connsiteY13" fmla="*/ 3732570 h 6931672"/>
              <a:gd name="connsiteX14" fmla="*/ 139210 w 8548017"/>
              <a:gd name="connsiteY14" fmla="*/ 3664990 h 6931672"/>
              <a:gd name="connsiteX15" fmla="*/ 486668 w 8548017"/>
              <a:gd name="connsiteY15" fmla="*/ 2888168 h 6931672"/>
              <a:gd name="connsiteX16" fmla="*/ 1140836 w 8548017"/>
              <a:gd name="connsiteY16" fmla="*/ 1931029 h 6931672"/>
              <a:gd name="connsiteX17" fmla="*/ 2283959 w 8548017"/>
              <a:gd name="connsiteY17" fmla="*/ 688988 h 6931672"/>
              <a:gd name="connsiteX18" fmla="*/ 2889393 w 8548017"/>
              <a:gd name="connsiteY18" fmla="*/ 140070 h 6931672"/>
              <a:gd name="connsiteX19" fmla="*/ 2971144 w 8548017"/>
              <a:gd name="connsiteY19" fmla="*/ 73672 h 6931672"/>
              <a:gd name="connsiteX0" fmla="*/ 2971144 w 8548017"/>
              <a:gd name="connsiteY0" fmla="*/ 73672 h 6931672"/>
              <a:gd name="connsiteX1" fmla="*/ 7752484 w 8548017"/>
              <a:gd name="connsiteY1" fmla="*/ 73672 h 6931672"/>
              <a:gd name="connsiteX2" fmla="*/ 8453900 w 8548017"/>
              <a:gd name="connsiteY2" fmla="*/ 0 h 6931672"/>
              <a:gd name="connsiteX3" fmla="*/ 8548017 w 8548017"/>
              <a:gd name="connsiteY3" fmla="*/ 1110315 h 6931672"/>
              <a:gd name="connsiteX4" fmla="*/ 8527206 w 8548017"/>
              <a:gd name="connsiteY4" fmla="*/ 1705331 h 6931672"/>
              <a:gd name="connsiteX5" fmla="*/ 8527206 w 8548017"/>
              <a:gd name="connsiteY5" fmla="*/ 6931672 h 6931672"/>
              <a:gd name="connsiteX6" fmla="*/ 1968306 w 8548017"/>
              <a:gd name="connsiteY6" fmla="*/ 6931672 h 6931672"/>
              <a:gd name="connsiteX7" fmla="*/ 1963205 w 8548017"/>
              <a:gd name="connsiteY7" fmla="*/ 6929302 h 6931672"/>
              <a:gd name="connsiteX8" fmla="*/ 1098144 w 8548017"/>
              <a:gd name="connsiteY8" fmla="*/ 6413740 h 6931672"/>
              <a:gd name="connsiteX9" fmla="*/ 430707 w 8548017"/>
              <a:gd name="connsiteY9" fmla="*/ 5764665 h 6931672"/>
              <a:gd name="connsiteX10" fmla="*/ 561 w 8548017"/>
              <a:gd name="connsiteY10" fmla="*/ 4542371 h 6931672"/>
              <a:gd name="connsiteX11" fmla="*/ 47377 w 8548017"/>
              <a:gd name="connsiteY11" fmla="*/ 4017991 h 6931672"/>
              <a:gd name="connsiteX12" fmla="*/ 62248 w 8548017"/>
              <a:gd name="connsiteY12" fmla="*/ 3906244 h 6931672"/>
              <a:gd name="connsiteX13" fmla="*/ 108969 w 8548017"/>
              <a:gd name="connsiteY13" fmla="*/ 3732570 h 6931672"/>
              <a:gd name="connsiteX14" fmla="*/ 139210 w 8548017"/>
              <a:gd name="connsiteY14" fmla="*/ 3664990 h 6931672"/>
              <a:gd name="connsiteX15" fmla="*/ 486668 w 8548017"/>
              <a:gd name="connsiteY15" fmla="*/ 2888168 h 6931672"/>
              <a:gd name="connsiteX16" fmla="*/ 1140836 w 8548017"/>
              <a:gd name="connsiteY16" fmla="*/ 1931029 h 6931672"/>
              <a:gd name="connsiteX17" fmla="*/ 2283959 w 8548017"/>
              <a:gd name="connsiteY17" fmla="*/ 688988 h 6931672"/>
              <a:gd name="connsiteX18" fmla="*/ 2889393 w 8548017"/>
              <a:gd name="connsiteY18" fmla="*/ 140070 h 6931672"/>
              <a:gd name="connsiteX19" fmla="*/ 2971144 w 8548017"/>
              <a:gd name="connsiteY19" fmla="*/ 73672 h 6931672"/>
              <a:gd name="connsiteX0" fmla="*/ 2971144 w 8601798"/>
              <a:gd name="connsiteY0" fmla="*/ 1101 h 6859101"/>
              <a:gd name="connsiteX1" fmla="*/ 7752484 w 8601798"/>
              <a:gd name="connsiteY1" fmla="*/ 1101 h 6859101"/>
              <a:gd name="connsiteX2" fmla="*/ 8535835 w 8601798"/>
              <a:gd name="connsiteY2" fmla="*/ 0 h 6859101"/>
              <a:gd name="connsiteX3" fmla="*/ 8548017 w 8601798"/>
              <a:gd name="connsiteY3" fmla="*/ 1037744 h 6859101"/>
              <a:gd name="connsiteX4" fmla="*/ 8527206 w 8601798"/>
              <a:gd name="connsiteY4" fmla="*/ 1632760 h 6859101"/>
              <a:gd name="connsiteX5" fmla="*/ 8527206 w 8601798"/>
              <a:gd name="connsiteY5" fmla="*/ 6859101 h 6859101"/>
              <a:gd name="connsiteX6" fmla="*/ 1968306 w 8601798"/>
              <a:gd name="connsiteY6" fmla="*/ 6859101 h 6859101"/>
              <a:gd name="connsiteX7" fmla="*/ 1963205 w 8601798"/>
              <a:gd name="connsiteY7" fmla="*/ 6856731 h 6859101"/>
              <a:gd name="connsiteX8" fmla="*/ 1098144 w 8601798"/>
              <a:gd name="connsiteY8" fmla="*/ 6341169 h 6859101"/>
              <a:gd name="connsiteX9" fmla="*/ 430707 w 8601798"/>
              <a:gd name="connsiteY9" fmla="*/ 5692094 h 6859101"/>
              <a:gd name="connsiteX10" fmla="*/ 561 w 8601798"/>
              <a:gd name="connsiteY10" fmla="*/ 4469800 h 6859101"/>
              <a:gd name="connsiteX11" fmla="*/ 47377 w 8601798"/>
              <a:gd name="connsiteY11" fmla="*/ 3945420 h 6859101"/>
              <a:gd name="connsiteX12" fmla="*/ 62248 w 8601798"/>
              <a:gd name="connsiteY12" fmla="*/ 3833673 h 6859101"/>
              <a:gd name="connsiteX13" fmla="*/ 108969 w 8601798"/>
              <a:gd name="connsiteY13" fmla="*/ 3659999 h 6859101"/>
              <a:gd name="connsiteX14" fmla="*/ 139210 w 8601798"/>
              <a:gd name="connsiteY14" fmla="*/ 3592419 h 6859101"/>
              <a:gd name="connsiteX15" fmla="*/ 486668 w 8601798"/>
              <a:gd name="connsiteY15" fmla="*/ 2815597 h 6859101"/>
              <a:gd name="connsiteX16" fmla="*/ 1140836 w 8601798"/>
              <a:gd name="connsiteY16" fmla="*/ 1858458 h 6859101"/>
              <a:gd name="connsiteX17" fmla="*/ 2283959 w 8601798"/>
              <a:gd name="connsiteY17" fmla="*/ 616417 h 6859101"/>
              <a:gd name="connsiteX18" fmla="*/ 2889393 w 8601798"/>
              <a:gd name="connsiteY18" fmla="*/ 67499 h 6859101"/>
              <a:gd name="connsiteX19" fmla="*/ 2971144 w 8601798"/>
              <a:gd name="connsiteY19" fmla="*/ 1101 h 6859101"/>
              <a:gd name="connsiteX0" fmla="*/ 2971144 w 8875759"/>
              <a:gd name="connsiteY0" fmla="*/ 1101 h 6859101"/>
              <a:gd name="connsiteX1" fmla="*/ 7752484 w 8875759"/>
              <a:gd name="connsiteY1" fmla="*/ 1101 h 6859101"/>
              <a:gd name="connsiteX2" fmla="*/ 8535835 w 8875759"/>
              <a:gd name="connsiteY2" fmla="*/ 0 h 6859101"/>
              <a:gd name="connsiteX3" fmla="*/ 8875759 w 8875759"/>
              <a:gd name="connsiteY3" fmla="*/ 1139344 h 6859101"/>
              <a:gd name="connsiteX4" fmla="*/ 8527206 w 8875759"/>
              <a:gd name="connsiteY4" fmla="*/ 1632760 h 6859101"/>
              <a:gd name="connsiteX5" fmla="*/ 8527206 w 8875759"/>
              <a:gd name="connsiteY5" fmla="*/ 6859101 h 6859101"/>
              <a:gd name="connsiteX6" fmla="*/ 1968306 w 8875759"/>
              <a:gd name="connsiteY6" fmla="*/ 6859101 h 6859101"/>
              <a:gd name="connsiteX7" fmla="*/ 1963205 w 8875759"/>
              <a:gd name="connsiteY7" fmla="*/ 6856731 h 6859101"/>
              <a:gd name="connsiteX8" fmla="*/ 1098144 w 8875759"/>
              <a:gd name="connsiteY8" fmla="*/ 6341169 h 6859101"/>
              <a:gd name="connsiteX9" fmla="*/ 430707 w 8875759"/>
              <a:gd name="connsiteY9" fmla="*/ 5692094 h 6859101"/>
              <a:gd name="connsiteX10" fmla="*/ 561 w 8875759"/>
              <a:gd name="connsiteY10" fmla="*/ 4469800 h 6859101"/>
              <a:gd name="connsiteX11" fmla="*/ 47377 w 8875759"/>
              <a:gd name="connsiteY11" fmla="*/ 3945420 h 6859101"/>
              <a:gd name="connsiteX12" fmla="*/ 62248 w 8875759"/>
              <a:gd name="connsiteY12" fmla="*/ 3833673 h 6859101"/>
              <a:gd name="connsiteX13" fmla="*/ 108969 w 8875759"/>
              <a:gd name="connsiteY13" fmla="*/ 3659999 h 6859101"/>
              <a:gd name="connsiteX14" fmla="*/ 139210 w 8875759"/>
              <a:gd name="connsiteY14" fmla="*/ 3592419 h 6859101"/>
              <a:gd name="connsiteX15" fmla="*/ 486668 w 8875759"/>
              <a:gd name="connsiteY15" fmla="*/ 2815597 h 6859101"/>
              <a:gd name="connsiteX16" fmla="*/ 1140836 w 8875759"/>
              <a:gd name="connsiteY16" fmla="*/ 1858458 h 6859101"/>
              <a:gd name="connsiteX17" fmla="*/ 2283959 w 8875759"/>
              <a:gd name="connsiteY17" fmla="*/ 616417 h 6859101"/>
              <a:gd name="connsiteX18" fmla="*/ 2889393 w 8875759"/>
              <a:gd name="connsiteY18" fmla="*/ 67499 h 6859101"/>
              <a:gd name="connsiteX19" fmla="*/ 2971144 w 8875759"/>
              <a:gd name="connsiteY19" fmla="*/ 1101 h 6859101"/>
              <a:gd name="connsiteX0" fmla="*/ 2971144 w 8875759"/>
              <a:gd name="connsiteY0" fmla="*/ 0 h 6858000"/>
              <a:gd name="connsiteX1" fmla="*/ 7752484 w 8875759"/>
              <a:gd name="connsiteY1" fmla="*/ 0 h 6858000"/>
              <a:gd name="connsiteX2" fmla="*/ 8781642 w 8875759"/>
              <a:gd name="connsiteY2" fmla="*/ 85984 h 6858000"/>
              <a:gd name="connsiteX3" fmla="*/ 8875759 w 8875759"/>
              <a:gd name="connsiteY3" fmla="*/ 1138243 h 6858000"/>
              <a:gd name="connsiteX4" fmla="*/ 8527206 w 8875759"/>
              <a:gd name="connsiteY4" fmla="*/ 1631659 h 6858000"/>
              <a:gd name="connsiteX5" fmla="*/ 8527206 w 8875759"/>
              <a:gd name="connsiteY5" fmla="*/ 6858000 h 6858000"/>
              <a:gd name="connsiteX6" fmla="*/ 1968306 w 8875759"/>
              <a:gd name="connsiteY6" fmla="*/ 6858000 h 6858000"/>
              <a:gd name="connsiteX7" fmla="*/ 1963205 w 8875759"/>
              <a:gd name="connsiteY7" fmla="*/ 6855630 h 6858000"/>
              <a:gd name="connsiteX8" fmla="*/ 1098144 w 8875759"/>
              <a:gd name="connsiteY8" fmla="*/ 6340068 h 6858000"/>
              <a:gd name="connsiteX9" fmla="*/ 430707 w 8875759"/>
              <a:gd name="connsiteY9" fmla="*/ 5690993 h 6858000"/>
              <a:gd name="connsiteX10" fmla="*/ 561 w 8875759"/>
              <a:gd name="connsiteY10" fmla="*/ 4468699 h 6858000"/>
              <a:gd name="connsiteX11" fmla="*/ 47377 w 8875759"/>
              <a:gd name="connsiteY11" fmla="*/ 3944319 h 6858000"/>
              <a:gd name="connsiteX12" fmla="*/ 62248 w 8875759"/>
              <a:gd name="connsiteY12" fmla="*/ 3832572 h 6858000"/>
              <a:gd name="connsiteX13" fmla="*/ 108969 w 8875759"/>
              <a:gd name="connsiteY13" fmla="*/ 3658898 h 6858000"/>
              <a:gd name="connsiteX14" fmla="*/ 139210 w 8875759"/>
              <a:gd name="connsiteY14" fmla="*/ 3591318 h 6858000"/>
              <a:gd name="connsiteX15" fmla="*/ 486668 w 8875759"/>
              <a:gd name="connsiteY15" fmla="*/ 2814496 h 6858000"/>
              <a:gd name="connsiteX16" fmla="*/ 1140836 w 8875759"/>
              <a:gd name="connsiteY16" fmla="*/ 1857357 h 6858000"/>
              <a:gd name="connsiteX17" fmla="*/ 2283959 w 8875759"/>
              <a:gd name="connsiteY17" fmla="*/ 615316 h 6858000"/>
              <a:gd name="connsiteX18" fmla="*/ 2889393 w 8875759"/>
              <a:gd name="connsiteY18" fmla="*/ 66398 h 6858000"/>
              <a:gd name="connsiteX19" fmla="*/ 2971144 w 8875759"/>
              <a:gd name="connsiteY19" fmla="*/ 0 h 6858000"/>
              <a:gd name="connsiteX0" fmla="*/ 2971144 w 8943533"/>
              <a:gd name="connsiteY0" fmla="*/ 1101 h 6859101"/>
              <a:gd name="connsiteX1" fmla="*/ 7752484 w 8943533"/>
              <a:gd name="connsiteY1" fmla="*/ 1101 h 6859101"/>
              <a:gd name="connsiteX2" fmla="*/ 8879965 w 8943533"/>
              <a:gd name="connsiteY2" fmla="*/ 0 h 6859101"/>
              <a:gd name="connsiteX3" fmla="*/ 8875759 w 8943533"/>
              <a:gd name="connsiteY3" fmla="*/ 1139344 h 6859101"/>
              <a:gd name="connsiteX4" fmla="*/ 8527206 w 8943533"/>
              <a:gd name="connsiteY4" fmla="*/ 1632760 h 6859101"/>
              <a:gd name="connsiteX5" fmla="*/ 8527206 w 8943533"/>
              <a:gd name="connsiteY5" fmla="*/ 6859101 h 6859101"/>
              <a:gd name="connsiteX6" fmla="*/ 1968306 w 8943533"/>
              <a:gd name="connsiteY6" fmla="*/ 6859101 h 6859101"/>
              <a:gd name="connsiteX7" fmla="*/ 1963205 w 8943533"/>
              <a:gd name="connsiteY7" fmla="*/ 6856731 h 6859101"/>
              <a:gd name="connsiteX8" fmla="*/ 1098144 w 8943533"/>
              <a:gd name="connsiteY8" fmla="*/ 6341169 h 6859101"/>
              <a:gd name="connsiteX9" fmla="*/ 430707 w 8943533"/>
              <a:gd name="connsiteY9" fmla="*/ 5692094 h 6859101"/>
              <a:gd name="connsiteX10" fmla="*/ 561 w 8943533"/>
              <a:gd name="connsiteY10" fmla="*/ 4469800 h 6859101"/>
              <a:gd name="connsiteX11" fmla="*/ 47377 w 8943533"/>
              <a:gd name="connsiteY11" fmla="*/ 3945420 h 6859101"/>
              <a:gd name="connsiteX12" fmla="*/ 62248 w 8943533"/>
              <a:gd name="connsiteY12" fmla="*/ 3833673 h 6859101"/>
              <a:gd name="connsiteX13" fmla="*/ 108969 w 8943533"/>
              <a:gd name="connsiteY13" fmla="*/ 3659999 h 6859101"/>
              <a:gd name="connsiteX14" fmla="*/ 139210 w 8943533"/>
              <a:gd name="connsiteY14" fmla="*/ 3592419 h 6859101"/>
              <a:gd name="connsiteX15" fmla="*/ 486668 w 8943533"/>
              <a:gd name="connsiteY15" fmla="*/ 2815597 h 6859101"/>
              <a:gd name="connsiteX16" fmla="*/ 1140836 w 8943533"/>
              <a:gd name="connsiteY16" fmla="*/ 1858458 h 6859101"/>
              <a:gd name="connsiteX17" fmla="*/ 2283959 w 8943533"/>
              <a:gd name="connsiteY17" fmla="*/ 616417 h 6859101"/>
              <a:gd name="connsiteX18" fmla="*/ 2889393 w 8943533"/>
              <a:gd name="connsiteY18" fmla="*/ 67499 h 6859101"/>
              <a:gd name="connsiteX19" fmla="*/ 2971144 w 8943533"/>
              <a:gd name="connsiteY19" fmla="*/ 1101 h 6859101"/>
              <a:gd name="connsiteX0" fmla="*/ 2971144 w 8914877"/>
              <a:gd name="connsiteY0" fmla="*/ 1101 h 6859101"/>
              <a:gd name="connsiteX1" fmla="*/ 7752484 w 8914877"/>
              <a:gd name="connsiteY1" fmla="*/ 1101 h 6859101"/>
              <a:gd name="connsiteX2" fmla="*/ 8879965 w 8914877"/>
              <a:gd name="connsiteY2" fmla="*/ 0 h 6859101"/>
              <a:gd name="connsiteX3" fmla="*/ 8498857 w 8914877"/>
              <a:gd name="connsiteY3" fmla="*/ 616830 h 6859101"/>
              <a:gd name="connsiteX4" fmla="*/ 8527206 w 8914877"/>
              <a:gd name="connsiteY4" fmla="*/ 1632760 h 6859101"/>
              <a:gd name="connsiteX5" fmla="*/ 8527206 w 8914877"/>
              <a:gd name="connsiteY5" fmla="*/ 6859101 h 6859101"/>
              <a:gd name="connsiteX6" fmla="*/ 1968306 w 8914877"/>
              <a:gd name="connsiteY6" fmla="*/ 6859101 h 6859101"/>
              <a:gd name="connsiteX7" fmla="*/ 1963205 w 8914877"/>
              <a:gd name="connsiteY7" fmla="*/ 6856731 h 6859101"/>
              <a:gd name="connsiteX8" fmla="*/ 1098144 w 8914877"/>
              <a:gd name="connsiteY8" fmla="*/ 6341169 h 6859101"/>
              <a:gd name="connsiteX9" fmla="*/ 430707 w 8914877"/>
              <a:gd name="connsiteY9" fmla="*/ 5692094 h 6859101"/>
              <a:gd name="connsiteX10" fmla="*/ 561 w 8914877"/>
              <a:gd name="connsiteY10" fmla="*/ 4469800 h 6859101"/>
              <a:gd name="connsiteX11" fmla="*/ 47377 w 8914877"/>
              <a:gd name="connsiteY11" fmla="*/ 3945420 h 6859101"/>
              <a:gd name="connsiteX12" fmla="*/ 62248 w 8914877"/>
              <a:gd name="connsiteY12" fmla="*/ 3833673 h 6859101"/>
              <a:gd name="connsiteX13" fmla="*/ 108969 w 8914877"/>
              <a:gd name="connsiteY13" fmla="*/ 3659999 h 6859101"/>
              <a:gd name="connsiteX14" fmla="*/ 139210 w 8914877"/>
              <a:gd name="connsiteY14" fmla="*/ 3592419 h 6859101"/>
              <a:gd name="connsiteX15" fmla="*/ 486668 w 8914877"/>
              <a:gd name="connsiteY15" fmla="*/ 2815597 h 6859101"/>
              <a:gd name="connsiteX16" fmla="*/ 1140836 w 8914877"/>
              <a:gd name="connsiteY16" fmla="*/ 1858458 h 6859101"/>
              <a:gd name="connsiteX17" fmla="*/ 2283959 w 8914877"/>
              <a:gd name="connsiteY17" fmla="*/ 616417 h 6859101"/>
              <a:gd name="connsiteX18" fmla="*/ 2889393 w 8914877"/>
              <a:gd name="connsiteY18" fmla="*/ 67499 h 6859101"/>
              <a:gd name="connsiteX19" fmla="*/ 2971144 w 8914877"/>
              <a:gd name="connsiteY19" fmla="*/ 1101 h 6859101"/>
              <a:gd name="connsiteX0" fmla="*/ 2971144 w 8527206"/>
              <a:gd name="connsiteY0" fmla="*/ 0 h 6858000"/>
              <a:gd name="connsiteX1" fmla="*/ 7752484 w 8527206"/>
              <a:gd name="connsiteY1" fmla="*/ 0 h 6858000"/>
              <a:gd name="connsiteX2" fmla="*/ 8498857 w 8527206"/>
              <a:gd name="connsiteY2" fmla="*/ 615729 h 6858000"/>
              <a:gd name="connsiteX3" fmla="*/ 8527206 w 8527206"/>
              <a:gd name="connsiteY3" fmla="*/ 1631659 h 6858000"/>
              <a:gd name="connsiteX4" fmla="*/ 8527206 w 8527206"/>
              <a:gd name="connsiteY4" fmla="*/ 6858000 h 6858000"/>
              <a:gd name="connsiteX5" fmla="*/ 1968306 w 8527206"/>
              <a:gd name="connsiteY5" fmla="*/ 6858000 h 6858000"/>
              <a:gd name="connsiteX6" fmla="*/ 1963205 w 8527206"/>
              <a:gd name="connsiteY6" fmla="*/ 6855630 h 6858000"/>
              <a:gd name="connsiteX7" fmla="*/ 1098144 w 8527206"/>
              <a:gd name="connsiteY7" fmla="*/ 6340068 h 6858000"/>
              <a:gd name="connsiteX8" fmla="*/ 430707 w 8527206"/>
              <a:gd name="connsiteY8" fmla="*/ 5690993 h 6858000"/>
              <a:gd name="connsiteX9" fmla="*/ 561 w 8527206"/>
              <a:gd name="connsiteY9" fmla="*/ 4468699 h 6858000"/>
              <a:gd name="connsiteX10" fmla="*/ 47377 w 8527206"/>
              <a:gd name="connsiteY10" fmla="*/ 3944319 h 6858000"/>
              <a:gd name="connsiteX11" fmla="*/ 62248 w 8527206"/>
              <a:gd name="connsiteY11" fmla="*/ 3832572 h 6858000"/>
              <a:gd name="connsiteX12" fmla="*/ 108969 w 8527206"/>
              <a:gd name="connsiteY12" fmla="*/ 3658898 h 6858000"/>
              <a:gd name="connsiteX13" fmla="*/ 139210 w 8527206"/>
              <a:gd name="connsiteY13" fmla="*/ 3591318 h 6858000"/>
              <a:gd name="connsiteX14" fmla="*/ 486668 w 8527206"/>
              <a:gd name="connsiteY14" fmla="*/ 2814496 h 6858000"/>
              <a:gd name="connsiteX15" fmla="*/ 1140836 w 8527206"/>
              <a:gd name="connsiteY15" fmla="*/ 1857357 h 6858000"/>
              <a:gd name="connsiteX16" fmla="*/ 2283959 w 8527206"/>
              <a:gd name="connsiteY16" fmla="*/ 615316 h 6858000"/>
              <a:gd name="connsiteX17" fmla="*/ 2889393 w 8527206"/>
              <a:gd name="connsiteY17" fmla="*/ 66398 h 6858000"/>
              <a:gd name="connsiteX18" fmla="*/ 2971144 w 8527206"/>
              <a:gd name="connsiteY18" fmla="*/ 0 h 6858000"/>
              <a:gd name="connsiteX0" fmla="*/ 2971144 w 8531631"/>
              <a:gd name="connsiteY0" fmla="*/ 8385 h 6866385"/>
              <a:gd name="connsiteX1" fmla="*/ 7752484 w 8531631"/>
              <a:gd name="connsiteY1" fmla="*/ 8385 h 6866385"/>
              <a:gd name="connsiteX2" fmla="*/ 8531631 w 8531631"/>
              <a:gd name="connsiteY2" fmla="*/ 0 h 6866385"/>
              <a:gd name="connsiteX3" fmla="*/ 8527206 w 8531631"/>
              <a:gd name="connsiteY3" fmla="*/ 1640044 h 6866385"/>
              <a:gd name="connsiteX4" fmla="*/ 8527206 w 8531631"/>
              <a:gd name="connsiteY4" fmla="*/ 6866385 h 6866385"/>
              <a:gd name="connsiteX5" fmla="*/ 1968306 w 8531631"/>
              <a:gd name="connsiteY5" fmla="*/ 6866385 h 6866385"/>
              <a:gd name="connsiteX6" fmla="*/ 1963205 w 8531631"/>
              <a:gd name="connsiteY6" fmla="*/ 6864015 h 6866385"/>
              <a:gd name="connsiteX7" fmla="*/ 1098144 w 8531631"/>
              <a:gd name="connsiteY7" fmla="*/ 6348453 h 6866385"/>
              <a:gd name="connsiteX8" fmla="*/ 430707 w 8531631"/>
              <a:gd name="connsiteY8" fmla="*/ 5699378 h 6866385"/>
              <a:gd name="connsiteX9" fmla="*/ 561 w 8531631"/>
              <a:gd name="connsiteY9" fmla="*/ 4477084 h 6866385"/>
              <a:gd name="connsiteX10" fmla="*/ 47377 w 8531631"/>
              <a:gd name="connsiteY10" fmla="*/ 3952704 h 6866385"/>
              <a:gd name="connsiteX11" fmla="*/ 62248 w 8531631"/>
              <a:gd name="connsiteY11" fmla="*/ 3840957 h 6866385"/>
              <a:gd name="connsiteX12" fmla="*/ 108969 w 8531631"/>
              <a:gd name="connsiteY12" fmla="*/ 3667283 h 6866385"/>
              <a:gd name="connsiteX13" fmla="*/ 139210 w 8531631"/>
              <a:gd name="connsiteY13" fmla="*/ 3599703 h 6866385"/>
              <a:gd name="connsiteX14" fmla="*/ 486668 w 8531631"/>
              <a:gd name="connsiteY14" fmla="*/ 2822881 h 6866385"/>
              <a:gd name="connsiteX15" fmla="*/ 1140836 w 8531631"/>
              <a:gd name="connsiteY15" fmla="*/ 1865742 h 6866385"/>
              <a:gd name="connsiteX16" fmla="*/ 2283959 w 8531631"/>
              <a:gd name="connsiteY16" fmla="*/ 623701 h 6866385"/>
              <a:gd name="connsiteX17" fmla="*/ 2889393 w 8531631"/>
              <a:gd name="connsiteY17" fmla="*/ 74783 h 6866385"/>
              <a:gd name="connsiteX18" fmla="*/ 2971144 w 8531631"/>
              <a:gd name="connsiteY18" fmla="*/ 8385 h 6866385"/>
              <a:gd name="connsiteX0" fmla="*/ 2971144 w 8527206"/>
              <a:gd name="connsiteY0" fmla="*/ 21085 h 6879085"/>
              <a:gd name="connsiteX1" fmla="*/ 7752484 w 8527206"/>
              <a:gd name="connsiteY1" fmla="*/ 21085 h 6879085"/>
              <a:gd name="connsiteX2" fmla="*/ 8517292 w 8527206"/>
              <a:gd name="connsiteY2" fmla="*/ 0 h 6879085"/>
              <a:gd name="connsiteX3" fmla="*/ 8527206 w 8527206"/>
              <a:gd name="connsiteY3" fmla="*/ 1652744 h 6879085"/>
              <a:gd name="connsiteX4" fmla="*/ 8527206 w 8527206"/>
              <a:gd name="connsiteY4" fmla="*/ 6879085 h 6879085"/>
              <a:gd name="connsiteX5" fmla="*/ 1968306 w 8527206"/>
              <a:gd name="connsiteY5" fmla="*/ 6879085 h 6879085"/>
              <a:gd name="connsiteX6" fmla="*/ 1963205 w 8527206"/>
              <a:gd name="connsiteY6" fmla="*/ 6876715 h 6879085"/>
              <a:gd name="connsiteX7" fmla="*/ 1098144 w 8527206"/>
              <a:gd name="connsiteY7" fmla="*/ 6361153 h 6879085"/>
              <a:gd name="connsiteX8" fmla="*/ 430707 w 8527206"/>
              <a:gd name="connsiteY8" fmla="*/ 5712078 h 6879085"/>
              <a:gd name="connsiteX9" fmla="*/ 561 w 8527206"/>
              <a:gd name="connsiteY9" fmla="*/ 4489784 h 6879085"/>
              <a:gd name="connsiteX10" fmla="*/ 47377 w 8527206"/>
              <a:gd name="connsiteY10" fmla="*/ 3965404 h 6879085"/>
              <a:gd name="connsiteX11" fmla="*/ 62248 w 8527206"/>
              <a:gd name="connsiteY11" fmla="*/ 3853657 h 6879085"/>
              <a:gd name="connsiteX12" fmla="*/ 108969 w 8527206"/>
              <a:gd name="connsiteY12" fmla="*/ 3679983 h 6879085"/>
              <a:gd name="connsiteX13" fmla="*/ 139210 w 8527206"/>
              <a:gd name="connsiteY13" fmla="*/ 3612403 h 6879085"/>
              <a:gd name="connsiteX14" fmla="*/ 486668 w 8527206"/>
              <a:gd name="connsiteY14" fmla="*/ 2835581 h 6879085"/>
              <a:gd name="connsiteX15" fmla="*/ 1140836 w 8527206"/>
              <a:gd name="connsiteY15" fmla="*/ 1878442 h 6879085"/>
              <a:gd name="connsiteX16" fmla="*/ 2283959 w 8527206"/>
              <a:gd name="connsiteY16" fmla="*/ 636401 h 6879085"/>
              <a:gd name="connsiteX17" fmla="*/ 2889393 w 8527206"/>
              <a:gd name="connsiteY17" fmla="*/ 87483 h 6879085"/>
              <a:gd name="connsiteX18" fmla="*/ 2971144 w 8527206"/>
              <a:gd name="connsiteY18" fmla="*/ 21085 h 687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7206" h="6879085">
                <a:moveTo>
                  <a:pt x="2971144" y="21085"/>
                </a:moveTo>
                <a:lnTo>
                  <a:pt x="7752484" y="21085"/>
                </a:lnTo>
                <a:lnTo>
                  <a:pt x="8517292" y="0"/>
                </a:lnTo>
                <a:cubicBezTo>
                  <a:pt x="8520597" y="550915"/>
                  <a:pt x="8523901" y="1101829"/>
                  <a:pt x="8527206" y="1652744"/>
                </a:cubicBezTo>
                <a:lnTo>
                  <a:pt x="8527206" y="6879085"/>
                </a:lnTo>
                <a:lnTo>
                  <a:pt x="1968306" y="6879085"/>
                </a:lnTo>
                <a:lnTo>
                  <a:pt x="1963205" y="6876715"/>
                </a:lnTo>
                <a:cubicBezTo>
                  <a:pt x="1660296" y="6729085"/>
                  <a:pt x="1369305" y="6562034"/>
                  <a:pt x="1098144" y="6361153"/>
                </a:cubicBezTo>
                <a:cubicBezTo>
                  <a:pt x="846763" y="6174731"/>
                  <a:pt x="618854" y="5964164"/>
                  <a:pt x="430707" y="5712078"/>
                </a:cubicBezTo>
                <a:cubicBezTo>
                  <a:pt x="160576" y="5349599"/>
                  <a:pt x="10446" y="4944560"/>
                  <a:pt x="561" y="4489784"/>
                </a:cubicBezTo>
                <a:cubicBezTo>
                  <a:pt x="-3349" y="4313367"/>
                  <a:pt x="13298" y="4138562"/>
                  <a:pt x="47377" y="3965404"/>
                </a:cubicBezTo>
                <a:cubicBezTo>
                  <a:pt x="54591" y="3928616"/>
                  <a:pt x="57532" y="3891117"/>
                  <a:pt x="62248" y="3853657"/>
                </a:cubicBezTo>
                <a:lnTo>
                  <a:pt x="108969" y="3679983"/>
                </a:lnTo>
                <a:cubicBezTo>
                  <a:pt x="119050" y="3657455"/>
                  <a:pt x="131522" y="3636010"/>
                  <a:pt x="139210" y="3612403"/>
                </a:cubicBezTo>
                <a:cubicBezTo>
                  <a:pt x="227692" y="3341611"/>
                  <a:pt x="347049" y="3083914"/>
                  <a:pt x="486668" y="2835581"/>
                </a:cubicBezTo>
                <a:cubicBezTo>
                  <a:pt x="676736" y="2497691"/>
                  <a:pt x="899048" y="2181095"/>
                  <a:pt x="1140836" y="1878442"/>
                </a:cubicBezTo>
                <a:cubicBezTo>
                  <a:pt x="1492243" y="1437311"/>
                  <a:pt x="1878074" y="1027633"/>
                  <a:pt x="2283959" y="636401"/>
                </a:cubicBezTo>
                <a:cubicBezTo>
                  <a:pt x="2480507" y="447118"/>
                  <a:pt x="2681614" y="263303"/>
                  <a:pt x="2889393" y="87483"/>
                </a:cubicBezTo>
                <a:lnTo>
                  <a:pt x="2971144" y="21085"/>
                </a:lnTo>
                <a:close/>
              </a:path>
            </a:pathLst>
          </a:custGeom>
          <a:solidFill>
            <a:schemeClr val="accent6">
              <a:lumMod val="20000"/>
              <a:lumOff val="80000"/>
            </a:schemeClr>
          </a:solidFill>
        </p:spPr>
        <p:txBody>
          <a:bodyPr wrap="square" anchor="ctr">
            <a:noAutofit/>
          </a:bodyPr>
          <a:lstStyle>
            <a:lvl1pPr algn="ctr">
              <a:defRPr sz="9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116896374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guide id="3" pos="1504" userDrawn="1">
          <p15:clr>
            <a:srgbClr val="FBAE40"/>
          </p15:clr>
        </p15:guide>
        <p15:guide id="4" pos="8736" userDrawn="1">
          <p15:clr>
            <a:srgbClr val="FBAE40"/>
          </p15:clr>
        </p15:guide>
        <p15:guide id="5" orient="horz" pos="480" userDrawn="1">
          <p15:clr>
            <a:srgbClr val="FBAE40"/>
          </p15:clr>
        </p15:guide>
        <p15:guide id="6" orient="horz"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1" y="4"/>
            <a:ext cx="4992915" cy="6857999"/>
          </a:xfrm>
          <a:prstGeom prst="rect">
            <a:avLst/>
          </a:prstGeom>
          <a:pattFill prst="pct10">
            <a:fgClr>
              <a:schemeClr val="tx1"/>
            </a:fgClr>
            <a:bgClr>
              <a:schemeClr val="bg1"/>
            </a:bgClr>
          </a:pattFill>
        </p:spPr>
        <p:txBody>
          <a:bodyPr wrap="square" anchor="ctr">
            <a:noAutofit/>
          </a:bodyPr>
          <a:lstStyle>
            <a:lvl1pPr algn="ctr">
              <a:defRPr sz="9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id="{D761995D-0DF1-4E05-86F9-8FDA25736C54}"/>
              </a:ext>
            </a:extLst>
          </p:cNvPr>
          <p:cNvSpPr>
            <a:spLocks noGrp="1"/>
          </p:cNvSpPr>
          <p:nvPr>
            <p:ph type="title"/>
          </p:nvPr>
        </p:nvSpPr>
        <p:spPr>
          <a:xfrm>
            <a:off x="5237427" y="230318"/>
            <a:ext cx="6620744" cy="369332"/>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id="{634D9C7A-5BAD-4769-A6FA-F5D17B27ACD4}"/>
              </a:ext>
            </a:extLst>
          </p:cNvPr>
          <p:cNvSpPr>
            <a:spLocks noGrp="1"/>
          </p:cNvSpPr>
          <p:nvPr>
            <p:ph type="body" sz="quarter" idx="17"/>
          </p:nvPr>
        </p:nvSpPr>
        <p:spPr>
          <a:xfrm>
            <a:off x="5237427" y="843419"/>
            <a:ext cx="6620744" cy="138499"/>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50537379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guide id="3" pos="1504" userDrawn="1">
          <p15:clr>
            <a:srgbClr val="FBAE40"/>
          </p15:clr>
        </p15:guide>
        <p15:guide id="4" pos="8736" userDrawn="1">
          <p15:clr>
            <a:srgbClr val="FBAE40"/>
          </p15:clr>
        </p15:guide>
        <p15:guide id="5" orient="horz" pos="480" userDrawn="1">
          <p15:clr>
            <a:srgbClr val="FBAE40"/>
          </p15:clr>
        </p15:guide>
        <p15:guide id="6" orient="horz"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7199085" y="4"/>
            <a:ext cx="4992915" cy="6857999"/>
          </a:xfrm>
          <a:prstGeom prst="rect">
            <a:avLst/>
          </a:prstGeom>
          <a:pattFill prst="pct10">
            <a:fgClr>
              <a:schemeClr val="tx1"/>
            </a:fgClr>
            <a:bgClr>
              <a:schemeClr val="bg1"/>
            </a:bgClr>
          </a:pattFill>
        </p:spPr>
        <p:txBody>
          <a:bodyPr wrap="square" anchor="ctr">
            <a:noAutofit/>
          </a:bodyPr>
          <a:lstStyle>
            <a:lvl1pPr algn="ctr">
              <a:defRPr sz="900" b="0" i="0">
                <a:latin typeface="Titillium" charset="0"/>
                <a:ea typeface="Titillium" charset="0"/>
                <a:cs typeface="Titillium" charset="0"/>
              </a:defRPr>
            </a:lvl1pPr>
          </a:lstStyle>
          <a:p>
            <a:r>
              <a:rPr lang="en-US" dirty="0"/>
              <a:t>Insert Image</a:t>
            </a:r>
          </a:p>
        </p:txBody>
      </p:sp>
      <p:sp>
        <p:nvSpPr>
          <p:cNvPr id="7" name="Title 1">
            <a:extLst>
              <a:ext uri="{FF2B5EF4-FFF2-40B4-BE49-F238E27FC236}">
                <a16:creationId xmlns:a16="http://schemas.microsoft.com/office/drawing/2014/main" id="{82560FEA-821F-4038-85D3-E058A399FEAA}"/>
              </a:ext>
            </a:extLst>
          </p:cNvPr>
          <p:cNvSpPr>
            <a:spLocks noGrp="1"/>
          </p:cNvSpPr>
          <p:nvPr>
            <p:ph type="title"/>
          </p:nvPr>
        </p:nvSpPr>
        <p:spPr>
          <a:xfrm>
            <a:off x="723900" y="230318"/>
            <a:ext cx="6324600" cy="369332"/>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9" name="Text Placeholder 5">
            <a:extLst>
              <a:ext uri="{FF2B5EF4-FFF2-40B4-BE49-F238E27FC236}">
                <a16:creationId xmlns:a16="http://schemas.microsoft.com/office/drawing/2014/main" id="{695859B5-3F97-4723-B598-3A1EF775910E}"/>
              </a:ext>
            </a:extLst>
          </p:cNvPr>
          <p:cNvSpPr>
            <a:spLocks noGrp="1"/>
          </p:cNvSpPr>
          <p:nvPr>
            <p:ph type="body" sz="quarter" idx="17"/>
          </p:nvPr>
        </p:nvSpPr>
        <p:spPr>
          <a:xfrm>
            <a:off x="723903" y="843419"/>
            <a:ext cx="6324599" cy="138499"/>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41470108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guide id="3" pos="1504" userDrawn="1">
          <p15:clr>
            <a:srgbClr val="FBAE40"/>
          </p15:clr>
        </p15:guide>
        <p15:guide id="4" pos="8736" userDrawn="1">
          <p15:clr>
            <a:srgbClr val="FBAE40"/>
          </p15:clr>
        </p15:guide>
        <p15:guide id="5" orient="horz" pos="480" userDrawn="1">
          <p15:clr>
            <a:srgbClr val="FBAE40"/>
          </p15:clr>
        </p15:guide>
        <p15:guide id="6" orient="horz"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5" y="2870638"/>
            <a:ext cx="5932223" cy="711081"/>
          </a:xfrm>
        </p:spPr>
        <p:txBody>
          <a:bodyPr>
            <a:normAutofit/>
          </a:bodyPr>
          <a:lstStyle>
            <a:lvl1pPr algn="ctr">
              <a:defRPr sz="2025"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dirty="0"/>
              <a:t>SlideModel.com</a:t>
            </a:r>
          </a:p>
        </p:txBody>
      </p:sp>
    </p:spTree>
    <p:extLst>
      <p:ext uri="{BB962C8B-B14F-4D97-AF65-F5344CB8AC3E}">
        <p14:creationId xmlns:p14="http://schemas.microsoft.com/office/powerpoint/2010/main" val="6644429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154F33A-DFA4-401A-8081-F82B689FC85A}"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408923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398616-7242-4942-B0AB-3062885A09BC}"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9448195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E826901-9A56-4250-A3E8-039BD23929E6}"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36167391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B31747A-4713-47AA-A742-4848C7A51055}" type="datetime1">
              <a:rPr lang="en-US" smtClean="0"/>
              <a:pPr/>
              <a:t>2/22/2023</a:t>
            </a:fld>
            <a:endParaRPr lang="en-US"/>
          </a:p>
        </p:txBody>
      </p:sp>
      <p:sp>
        <p:nvSpPr>
          <p:cNvPr id="6" name="Footer Placeholder 5"/>
          <p:cNvSpPr>
            <a:spLocks noGrp="1"/>
          </p:cNvSpPr>
          <p:nvPr>
            <p:ph type="ftr" sz="quarter" idx="11"/>
          </p:nvPr>
        </p:nvSpPr>
        <p:spPr/>
        <p:txBody>
          <a:bodyPr/>
          <a:lstStyle/>
          <a:p>
            <a:r>
              <a:rPr lang="en-US"/>
              <a:t>Textile Fusion Limited </a:t>
            </a:r>
          </a:p>
        </p:txBody>
      </p:sp>
      <p:sp>
        <p:nvSpPr>
          <p:cNvPr id="7" name="Slide Number Placeholder 6"/>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8542698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B08C233-37AA-4050-A672-8CA5EF5BDAC5}" type="datetime1">
              <a:rPr lang="en-US" smtClean="0"/>
              <a:pPr/>
              <a:t>2/22/2023</a:t>
            </a:fld>
            <a:endParaRPr lang="en-US"/>
          </a:p>
        </p:txBody>
      </p:sp>
      <p:sp>
        <p:nvSpPr>
          <p:cNvPr id="8" name="Footer Placeholder 7"/>
          <p:cNvSpPr>
            <a:spLocks noGrp="1"/>
          </p:cNvSpPr>
          <p:nvPr>
            <p:ph type="ftr" sz="quarter" idx="11"/>
          </p:nvPr>
        </p:nvSpPr>
        <p:spPr/>
        <p:txBody>
          <a:bodyPr/>
          <a:lstStyle/>
          <a:p>
            <a:r>
              <a:rPr lang="en-US"/>
              <a:t>Textile Fusion Limited </a:t>
            </a:r>
          </a:p>
        </p:txBody>
      </p:sp>
      <p:sp>
        <p:nvSpPr>
          <p:cNvPr id="9" name="Slide Number Placeholder 8"/>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4288548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구역 머리글">
    <p:bg>
      <p:bgPr>
        <a:solidFill>
          <a:schemeClr val="bg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날짜 개체 틀 3"/>
          <p:cNvSpPr>
            <a:spLocks noGrp="1"/>
          </p:cNvSpPr>
          <p:nvPr>
            <p:ph type="dt" sz="half" idx="10"/>
          </p:nvPr>
        </p:nvSpPr>
        <p:spPr/>
        <p:txBody>
          <a:bodyPr/>
          <a:lstStyle/>
          <a:p>
            <a:fld id="{12C55860-FCE7-4CC0-9E67-ED05C983423F}" type="datetime1">
              <a:rPr lang="en-US" altLang="ko-KR" smtClean="0"/>
              <a:pPr/>
              <a:t>2/22/2023</a:t>
            </a:fld>
            <a:endParaRPr lang="ko-KR" altLang="en-US"/>
          </a:p>
        </p:txBody>
      </p:sp>
      <p:sp>
        <p:nvSpPr>
          <p:cNvPr id="5" name="바닥글 개체 틀 4"/>
          <p:cNvSpPr>
            <a:spLocks noGrp="1"/>
          </p:cNvSpPr>
          <p:nvPr>
            <p:ph type="ftr" sz="quarter" idx="11"/>
          </p:nvPr>
        </p:nvSpPr>
        <p:spPr/>
        <p:txBody>
          <a:bodyPr/>
          <a:lstStyle/>
          <a:p>
            <a:r>
              <a:rPr lang="en-US" altLang="ko-KR"/>
              <a:t>Textile Fusion Limited </a:t>
            </a:r>
            <a:endParaRPr lang="ko-KR" altLang="en-US"/>
          </a:p>
        </p:txBody>
      </p:sp>
      <p:sp>
        <p:nvSpPr>
          <p:cNvPr id="6" name="슬라이드 번호 개체 틀 5"/>
          <p:cNvSpPr>
            <a:spLocks noGrp="1"/>
          </p:cNvSpPr>
          <p:nvPr>
            <p:ph type="sldNum" sz="quarter" idx="12"/>
          </p:nvPr>
        </p:nvSpPr>
        <p:spPr/>
        <p:txBody>
          <a:bodyPr/>
          <a:lstStyle/>
          <a:p>
            <a:fld id="{EE6BC638-39B7-4287-91A7-2A3DDA573295}" type="slidenum">
              <a:rPr lang="ko-KR" altLang="en-US" smtClean="0"/>
              <a:pPr/>
              <a:t>‹#›</a:t>
            </a:fld>
            <a:endParaRPr lang="ko-KR"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6E5D275-1BD6-439F-9149-6B08038A7616}" type="datetime1">
              <a:rPr lang="en-US" smtClean="0"/>
              <a:pPr/>
              <a:t>2/22/2023</a:t>
            </a:fld>
            <a:endParaRPr lang="en-US"/>
          </a:p>
        </p:txBody>
      </p:sp>
      <p:sp>
        <p:nvSpPr>
          <p:cNvPr id="4" name="Footer Placeholder 3"/>
          <p:cNvSpPr>
            <a:spLocks noGrp="1"/>
          </p:cNvSpPr>
          <p:nvPr>
            <p:ph type="ftr" sz="quarter" idx="11"/>
          </p:nvPr>
        </p:nvSpPr>
        <p:spPr/>
        <p:txBody>
          <a:bodyPr/>
          <a:lstStyle/>
          <a:p>
            <a:r>
              <a:rPr lang="en-US"/>
              <a:t>Textile Fusion Limited </a:t>
            </a:r>
          </a:p>
        </p:txBody>
      </p:sp>
      <p:sp>
        <p:nvSpPr>
          <p:cNvPr id="5" name="Slide Number Placeholder 4"/>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4592520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81B575B-57C0-4761-B00B-A0A0F31E2FF9}" type="datetime1">
              <a:rPr lang="en-US" smtClean="0"/>
              <a:pPr/>
              <a:t>2/22/2023</a:t>
            </a:fld>
            <a:endParaRPr lang="en-US"/>
          </a:p>
        </p:txBody>
      </p:sp>
      <p:sp>
        <p:nvSpPr>
          <p:cNvPr id="3" name="Footer Placeholder 2"/>
          <p:cNvSpPr>
            <a:spLocks noGrp="1"/>
          </p:cNvSpPr>
          <p:nvPr>
            <p:ph type="ftr" sz="quarter" idx="11"/>
          </p:nvPr>
        </p:nvSpPr>
        <p:spPr/>
        <p:txBody>
          <a:bodyPr/>
          <a:lstStyle/>
          <a:p>
            <a:r>
              <a:rPr lang="en-US"/>
              <a:t>Textile Fusion Limited </a:t>
            </a:r>
          </a:p>
        </p:txBody>
      </p:sp>
      <p:sp>
        <p:nvSpPr>
          <p:cNvPr id="4" name="Slide Number Placeholder 3"/>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9192798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B79B149-889F-4547-9592-241A9875D100}" type="datetime1">
              <a:rPr lang="en-US" smtClean="0"/>
              <a:pPr/>
              <a:t>2/22/2023</a:t>
            </a:fld>
            <a:endParaRPr lang="en-US"/>
          </a:p>
        </p:txBody>
      </p:sp>
      <p:sp>
        <p:nvSpPr>
          <p:cNvPr id="6" name="Footer Placeholder 5"/>
          <p:cNvSpPr>
            <a:spLocks noGrp="1"/>
          </p:cNvSpPr>
          <p:nvPr>
            <p:ph type="ftr" sz="quarter" idx="11"/>
          </p:nvPr>
        </p:nvSpPr>
        <p:spPr/>
        <p:txBody>
          <a:bodyPr/>
          <a:lstStyle/>
          <a:p>
            <a:r>
              <a:rPr lang="en-US"/>
              <a:t>Textile Fusion Limited </a:t>
            </a:r>
          </a:p>
        </p:txBody>
      </p:sp>
      <p:sp>
        <p:nvSpPr>
          <p:cNvPr id="7" name="Slide Number Placeholder 6"/>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42112488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F22128C-F182-4B7A-BDD4-1FBEA97EE0A0}" type="datetime1">
              <a:rPr lang="en-US" smtClean="0"/>
              <a:pPr/>
              <a:t>2/22/2023</a:t>
            </a:fld>
            <a:endParaRPr lang="en-US"/>
          </a:p>
        </p:txBody>
      </p:sp>
      <p:sp>
        <p:nvSpPr>
          <p:cNvPr id="6" name="Footer Placeholder 5"/>
          <p:cNvSpPr>
            <a:spLocks noGrp="1"/>
          </p:cNvSpPr>
          <p:nvPr>
            <p:ph type="ftr" sz="quarter" idx="11"/>
          </p:nvPr>
        </p:nvSpPr>
        <p:spPr/>
        <p:txBody>
          <a:bodyPr/>
          <a:lstStyle/>
          <a:p>
            <a:r>
              <a:rPr lang="en-US"/>
              <a:t>Textile Fusion Limited </a:t>
            </a:r>
          </a:p>
        </p:txBody>
      </p:sp>
      <p:sp>
        <p:nvSpPr>
          <p:cNvPr id="7" name="Slide Number Placeholder 6"/>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38145409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5D330D1-E6DA-4A86-9F5B-892AF59BD1D9}"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20631945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A7F388D-93C0-45E2-81F5-0705704F1D84}"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38269654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5" y="2870638"/>
            <a:ext cx="5932223" cy="711081"/>
          </a:xfrm>
        </p:spPr>
        <p:txBody>
          <a:bodyPr>
            <a:normAutofit/>
          </a:bodyPr>
          <a:lstStyle>
            <a:lvl1pPr algn="ctr">
              <a:defRPr sz="2025"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fld id="{806A5AB5-6FD0-40A2-83AC-FAE1E95D315B}" type="datetime1">
              <a:rPr lang="en-US" smtClean="0"/>
              <a:pPr/>
              <a:t>2/22/2023</a:t>
            </a:fld>
            <a:endParaRPr lang="en-US"/>
          </a:p>
        </p:txBody>
      </p:sp>
      <p:sp>
        <p:nvSpPr>
          <p:cNvPr id="4" name="Footer Placeholder 3"/>
          <p:cNvSpPr>
            <a:spLocks noGrp="1"/>
          </p:cNvSpPr>
          <p:nvPr>
            <p:ph type="ftr" sz="quarter" idx="11"/>
          </p:nvPr>
        </p:nvSpPr>
        <p:spPr/>
        <p:txBody>
          <a:bodyPr/>
          <a:lstStyle/>
          <a:p>
            <a:r>
              <a:rPr lang="en-US"/>
              <a:t>Textile Fusion Limited </a:t>
            </a:r>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4644807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296CB2A-E2D5-4DCA-A379-2E8C867AFF46}"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5717605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6D44760-A078-44F7-A49E-96FBD2EB441C}"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4469284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225EAC1-0E57-4206-906F-F56BCF3722D1}"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570757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사용자 지정 레이아웃">
    <p:bg>
      <p:bgPr>
        <a:solidFill>
          <a:schemeClr val="bg1"/>
        </a:solidFill>
        <a:effectLst/>
      </p:bgPr>
    </p:bg>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제목 1"/>
          <p:cNvSpPr>
            <a:spLocks noGrp="1"/>
          </p:cNvSpPr>
          <p:nvPr>
            <p:ph type="title"/>
          </p:nvPr>
        </p:nvSpPr>
        <p:spPr>
          <a:xfrm>
            <a:off x="166784" y="-10556"/>
            <a:ext cx="10214928" cy="796908"/>
          </a:xfrm>
        </p:spPr>
        <p:txBody>
          <a:bodyPr vert="horz" lIns="91440" tIns="45720" rIns="91440" bIns="45720" rtlCol="0" anchor="ctr">
            <a:normAutofit/>
          </a:bodyPr>
          <a:lstStyle>
            <a:lvl1pPr algn="l" defTabSz="685800" rtl="0" eaLnBrk="1" latinLnBrk="1" hangingPunct="1">
              <a:spcBef>
                <a:spcPct val="0"/>
              </a:spcBef>
              <a:buNone/>
              <a:defRPr lang="ko-KR" altLang="en-US" sz="1875" b="1" kern="1200" baseline="0" dirty="0">
                <a:solidFill>
                  <a:schemeClr val="bg1"/>
                </a:solidFill>
                <a:latin typeface="Calibri" panose="020F0502020204030204" pitchFamily="34" charset="0"/>
                <a:ea typeface="맑은 고딕" pitchFamily="50" charset="-127"/>
                <a:cs typeface="+mj-cs"/>
              </a:defRPr>
            </a:lvl1pPr>
          </a:lstStyle>
          <a:p>
            <a:r>
              <a:rPr lang="ko-KR" altLang="en-US" dirty="0"/>
              <a:t>마스터 제목 스타일 편집</a:t>
            </a:r>
          </a:p>
        </p:txBody>
      </p:sp>
      <p:sp>
        <p:nvSpPr>
          <p:cNvPr id="3" name="날짜 개체 틀 2"/>
          <p:cNvSpPr>
            <a:spLocks noGrp="1"/>
          </p:cNvSpPr>
          <p:nvPr>
            <p:ph type="dt" sz="half" idx="10"/>
          </p:nvPr>
        </p:nvSpPr>
        <p:spPr/>
        <p:txBody>
          <a:bodyPr/>
          <a:lstStyle>
            <a:lvl1pPr>
              <a:defRPr baseline="0">
                <a:latin typeface="Calibri" panose="020F0502020204030204" pitchFamily="34" charset="0"/>
              </a:defRPr>
            </a:lvl1pPr>
          </a:lstStyle>
          <a:p>
            <a:fld id="{3E948F86-BB8D-48D3-8099-F451AB823C9E}" type="datetime1">
              <a:rPr lang="en-US" altLang="ko-KR" smtClean="0"/>
              <a:pPr/>
              <a:t>2/22/2023</a:t>
            </a:fld>
            <a:endParaRPr lang="ko-KR" altLang="en-US"/>
          </a:p>
        </p:txBody>
      </p:sp>
      <p:sp>
        <p:nvSpPr>
          <p:cNvPr id="4" name="바닥글 개체 틀 3"/>
          <p:cNvSpPr>
            <a:spLocks noGrp="1"/>
          </p:cNvSpPr>
          <p:nvPr>
            <p:ph type="ftr" sz="quarter" idx="11"/>
          </p:nvPr>
        </p:nvSpPr>
        <p:spPr/>
        <p:txBody>
          <a:bodyPr/>
          <a:lstStyle>
            <a:lvl1pPr>
              <a:defRPr baseline="0">
                <a:latin typeface="Calibri" panose="020F0502020204030204" pitchFamily="34" charset="0"/>
              </a:defRPr>
            </a:lvl1pPr>
          </a:lstStyle>
          <a:p>
            <a:r>
              <a:rPr lang="en-US" altLang="ko-KR"/>
              <a:t>Textile Fusion Limited </a:t>
            </a:r>
            <a:endParaRPr lang="ko-KR" altLang="en-US"/>
          </a:p>
        </p:txBody>
      </p:sp>
      <p:sp>
        <p:nvSpPr>
          <p:cNvPr id="5" name="슬라이드 번호 개체 틀 4"/>
          <p:cNvSpPr>
            <a:spLocks noGrp="1"/>
          </p:cNvSpPr>
          <p:nvPr>
            <p:ph type="sldNum" sz="quarter" idx="12"/>
          </p:nvPr>
        </p:nvSpPr>
        <p:spPr/>
        <p:txBody>
          <a:bodyPr/>
          <a:lstStyle>
            <a:lvl1pPr>
              <a:defRPr baseline="0">
                <a:latin typeface="Calibri" panose="020F0502020204030204" pitchFamily="34" charset="0"/>
              </a:defRPr>
            </a:lvl1pPr>
          </a:lstStyle>
          <a:p>
            <a:fld id="{EE6BC638-39B7-4287-91A7-2A3DDA573295}" type="slidenum">
              <a:rPr lang="ko-KR" altLang="en-US" smtClean="0"/>
              <a:pPr/>
              <a:t>‹#›</a:t>
            </a:fld>
            <a:endParaRPr lang="ko-KR" altLang="en-US"/>
          </a:p>
        </p:txBody>
      </p:sp>
      <p:sp>
        <p:nvSpPr>
          <p:cNvPr id="6" name="내용 개체 틀 2"/>
          <p:cNvSpPr>
            <a:spLocks noGrp="1"/>
          </p:cNvSpPr>
          <p:nvPr>
            <p:ph idx="1"/>
          </p:nvPr>
        </p:nvSpPr>
        <p:spPr>
          <a:xfrm>
            <a:off x="527383" y="1484784"/>
            <a:ext cx="11203367" cy="4881686"/>
          </a:xfrm>
        </p:spPr>
        <p:txBody>
          <a:bodyPr>
            <a:normAutofit/>
          </a:bodyPr>
          <a:lstStyle>
            <a:lvl1pPr algn="l">
              <a:buNone/>
              <a:defRPr sz="1200" i="1" baseline="0">
                <a:solidFill>
                  <a:schemeClr val="tx1">
                    <a:lumMod val="65000"/>
                    <a:lumOff val="35000"/>
                  </a:schemeClr>
                </a:solidFill>
                <a:latin typeface="Calibri" panose="020F0502020204030204" pitchFamily="34" charset="0"/>
                <a:ea typeface="맑은 고딕" pitchFamily="50" charset="-127"/>
              </a:defRPr>
            </a:lvl1pPr>
            <a:lvl2pPr algn="l">
              <a:buNone/>
              <a:defRPr sz="1200" i="1" baseline="0">
                <a:solidFill>
                  <a:schemeClr val="tx1">
                    <a:lumMod val="65000"/>
                    <a:lumOff val="35000"/>
                  </a:schemeClr>
                </a:solidFill>
                <a:latin typeface="Calibri" panose="020F0502020204030204" pitchFamily="34" charset="0"/>
                <a:ea typeface="맑은 고딕" pitchFamily="50" charset="-127"/>
              </a:defRPr>
            </a:lvl2pPr>
            <a:lvl3pPr algn="l">
              <a:buNone/>
              <a:defRPr sz="1200" i="1" baseline="0">
                <a:solidFill>
                  <a:schemeClr val="tx1">
                    <a:lumMod val="65000"/>
                    <a:lumOff val="35000"/>
                  </a:schemeClr>
                </a:solidFill>
                <a:latin typeface="Calibri" panose="020F0502020204030204" pitchFamily="34" charset="0"/>
                <a:ea typeface="맑은 고딕" pitchFamily="50" charset="-127"/>
              </a:defRPr>
            </a:lvl3pPr>
            <a:lvl4pPr algn="l">
              <a:buNone/>
              <a:defRPr sz="1200" i="1" baseline="0">
                <a:solidFill>
                  <a:schemeClr val="tx1">
                    <a:lumMod val="65000"/>
                    <a:lumOff val="35000"/>
                  </a:schemeClr>
                </a:solidFill>
                <a:latin typeface="Calibri" panose="020F0502020204030204" pitchFamily="34" charset="0"/>
                <a:ea typeface="맑은 고딕" pitchFamily="50" charset="-127"/>
              </a:defRPr>
            </a:lvl4pPr>
            <a:lvl5pPr algn="l">
              <a:buNone/>
              <a:defRPr sz="1200" i="1" baseline="0">
                <a:solidFill>
                  <a:schemeClr val="tx1">
                    <a:lumMod val="65000"/>
                    <a:lumOff val="35000"/>
                  </a:schemeClr>
                </a:solidFill>
                <a:latin typeface="Calibri" panose="020F0502020204030204" pitchFamily="34" charset="0"/>
                <a:ea typeface="맑은 고딕" pitchFamily="50" charset="-127"/>
              </a:defRPr>
            </a:lvl5pPr>
          </a:lstStyle>
          <a:p>
            <a:pPr lvl="0"/>
            <a:r>
              <a:rPr lang="ko-KR" altLang="en-US" dirty="0"/>
              <a:t>마스터 텍스트 스타일을 편집합니다</a:t>
            </a:r>
          </a:p>
          <a:p>
            <a:pPr lvl="1"/>
            <a:r>
              <a:rPr lang="ko-KR" altLang="en-US" dirty="0"/>
              <a:t>둘째 수준</a:t>
            </a:r>
          </a:p>
          <a:p>
            <a:pPr lvl="2"/>
            <a:r>
              <a:rPr lang="ko-KR" altLang="en-US" dirty="0"/>
              <a:t>셋째 수준</a:t>
            </a:r>
          </a:p>
          <a:p>
            <a:pPr lvl="3"/>
            <a:r>
              <a:rPr lang="ko-KR" altLang="en-US" dirty="0"/>
              <a:t>넷째 수준</a:t>
            </a:r>
          </a:p>
          <a:p>
            <a:pPr lvl="4"/>
            <a:r>
              <a:rPr lang="ko-KR" altLang="en-US" dirty="0"/>
              <a:t>다섯째 수준</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D6A225E-9E17-4314-95EA-EFDC680311DC}" type="datetime1">
              <a:rPr lang="en-US" smtClean="0"/>
              <a:pPr/>
              <a:t>2/22/2023</a:t>
            </a:fld>
            <a:endParaRPr lang="en-US"/>
          </a:p>
        </p:txBody>
      </p:sp>
      <p:sp>
        <p:nvSpPr>
          <p:cNvPr id="6" name="Footer Placeholder 5"/>
          <p:cNvSpPr>
            <a:spLocks noGrp="1"/>
          </p:cNvSpPr>
          <p:nvPr>
            <p:ph type="ftr" sz="quarter" idx="11"/>
          </p:nvPr>
        </p:nvSpPr>
        <p:spPr/>
        <p:txBody>
          <a:bodyPr/>
          <a:lstStyle/>
          <a:p>
            <a:r>
              <a:rPr lang="en-US"/>
              <a:t>Textile Fusion Limited </a:t>
            </a:r>
          </a:p>
        </p:txBody>
      </p:sp>
      <p:sp>
        <p:nvSpPr>
          <p:cNvPr id="7" name="Slide Number Placeholder 6"/>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4384872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7A5D8C1-11A0-4031-87DC-2EEBE9B54EF4}" type="datetime1">
              <a:rPr lang="en-US" smtClean="0"/>
              <a:pPr/>
              <a:t>2/22/2023</a:t>
            </a:fld>
            <a:endParaRPr lang="en-US"/>
          </a:p>
        </p:txBody>
      </p:sp>
      <p:sp>
        <p:nvSpPr>
          <p:cNvPr id="8" name="Footer Placeholder 7"/>
          <p:cNvSpPr>
            <a:spLocks noGrp="1"/>
          </p:cNvSpPr>
          <p:nvPr>
            <p:ph type="ftr" sz="quarter" idx="11"/>
          </p:nvPr>
        </p:nvSpPr>
        <p:spPr/>
        <p:txBody>
          <a:bodyPr/>
          <a:lstStyle/>
          <a:p>
            <a:r>
              <a:rPr lang="en-US"/>
              <a:t>Textile Fusion Limited </a:t>
            </a:r>
          </a:p>
        </p:txBody>
      </p:sp>
      <p:sp>
        <p:nvSpPr>
          <p:cNvPr id="9" name="Slide Number Placeholder 8"/>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8704150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FB325B1-3BA7-4873-9753-D603318129E1}" type="datetime1">
              <a:rPr lang="en-US" smtClean="0"/>
              <a:pPr/>
              <a:t>2/22/2023</a:t>
            </a:fld>
            <a:endParaRPr lang="en-US"/>
          </a:p>
        </p:txBody>
      </p:sp>
      <p:sp>
        <p:nvSpPr>
          <p:cNvPr id="4" name="Footer Placeholder 3"/>
          <p:cNvSpPr>
            <a:spLocks noGrp="1"/>
          </p:cNvSpPr>
          <p:nvPr>
            <p:ph type="ftr" sz="quarter" idx="11"/>
          </p:nvPr>
        </p:nvSpPr>
        <p:spPr/>
        <p:txBody>
          <a:bodyPr/>
          <a:lstStyle/>
          <a:p>
            <a:r>
              <a:rPr lang="en-US"/>
              <a:t>Textile Fusion Limited </a:t>
            </a:r>
          </a:p>
        </p:txBody>
      </p:sp>
      <p:sp>
        <p:nvSpPr>
          <p:cNvPr id="5" name="Slide Number Placeholder 4"/>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4261017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042EA0-B3B4-4657-A878-9F01ACF79F46}" type="datetime1">
              <a:rPr lang="en-US" smtClean="0"/>
              <a:pPr/>
              <a:t>2/22/2023</a:t>
            </a:fld>
            <a:endParaRPr lang="en-US"/>
          </a:p>
        </p:txBody>
      </p:sp>
      <p:sp>
        <p:nvSpPr>
          <p:cNvPr id="3" name="Footer Placeholder 2"/>
          <p:cNvSpPr>
            <a:spLocks noGrp="1"/>
          </p:cNvSpPr>
          <p:nvPr>
            <p:ph type="ftr" sz="quarter" idx="11"/>
          </p:nvPr>
        </p:nvSpPr>
        <p:spPr/>
        <p:txBody>
          <a:bodyPr/>
          <a:lstStyle/>
          <a:p>
            <a:r>
              <a:rPr lang="en-US"/>
              <a:t>Textile Fusion Limited </a:t>
            </a:r>
          </a:p>
        </p:txBody>
      </p:sp>
      <p:sp>
        <p:nvSpPr>
          <p:cNvPr id="4" name="Slide Number Placeholder 3"/>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33694024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ECED5DD-ADF7-43FD-A683-6839889A46B9}" type="datetime1">
              <a:rPr lang="en-US" smtClean="0"/>
              <a:pPr/>
              <a:t>2/22/2023</a:t>
            </a:fld>
            <a:endParaRPr lang="en-US"/>
          </a:p>
        </p:txBody>
      </p:sp>
      <p:sp>
        <p:nvSpPr>
          <p:cNvPr id="6" name="Footer Placeholder 5"/>
          <p:cNvSpPr>
            <a:spLocks noGrp="1"/>
          </p:cNvSpPr>
          <p:nvPr>
            <p:ph type="ftr" sz="quarter" idx="11"/>
          </p:nvPr>
        </p:nvSpPr>
        <p:spPr/>
        <p:txBody>
          <a:bodyPr/>
          <a:lstStyle/>
          <a:p>
            <a:r>
              <a:rPr lang="en-US"/>
              <a:t>Textile Fusion Limited </a:t>
            </a:r>
          </a:p>
        </p:txBody>
      </p:sp>
      <p:sp>
        <p:nvSpPr>
          <p:cNvPr id="7" name="Slide Number Placeholder 6"/>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29673939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E288352-9826-44F9-8871-56532CF5A131}" type="datetime1">
              <a:rPr lang="en-US" smtClean="0"/>
              <a:pPr/>
              <a:t>2/22/2023</a:t>
            </a:fld>
            <a:endParaRPr lang="en-US"/>
          </a:p>
        </p:txBody>
      </p:sp>
      <p:sp>
        <p:nvSpPr>
          <p:cNvPr id="6" name="Footer Placeholder 5"/>
          <p:cNvSpPr>
            <a:spLocks noGrp="1"/>
          </p:cNvSpPr>
          <p:nvPr>
            <p:ph type="ftr" sz="quarter" idx="11"/>
          </p:nvPr>
        </p:nvSpPr>
        <p:spPr/>
        <p:txBody>
          <a:bodyPr/>
          <a:lstStyle/>
          <a:p>
            <a:r>
              <a:rPr lang="en-US"/>
              <a:t>Textile Fusion Limited </a:t>
            </a:r>
          </a:p>
        </p:txBody>
      </p:sp>
      <p:sp>
        <p:nvSpPr>
          <p:cNvPr id="7" name="Slide Number Placeholder 6"/>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37316072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296C1FB-62AB-488E-9C58-C01C76B031F1}"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22941347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14754A6-BAE1-4397-A6CC-06BA42A4A82D}"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9887874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0634"/>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fld id="{3F1B1F10-9941-4A76-90D2-98FC0F42C95E}" type="datetime1">
              <a:rPr lang="en-US" smtClean="0"/>
              <a:pPr/>
              <a:t>2/22/2023</a:t>
            </a:fld>
            <a:endParaRPr lang="en-US"/>
          </a:p>
        </p:txBody>
      </p:sp>
      <p:sp>
        <p:nvSpPr>
          <p:cNvPr id="4" name="Footer Placeholder 3"/>
          <p:cNvSpPr>
            <a:spLocks noGrp="1"/>
          </p:cNvSpPr>
          <p:nvPr>
            <p:ph type="ftr" sz="quarter" idx="11"/>
          </p:nvPr>
        </p:nvSpPr>
        <p:spPr/>
        <p:txBody>
          <a:bodyPr/>
          <a:lstStyle/>
          <a:p>
            <a:r>
              <a:rPr lang="en-US"/>
              <a:t>Textile Fusion Limited </a:t>
            </a:r>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919901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Rectangle 4"/>
          <p:cNvSpPr/>
          <p:nvPr userDrawn="1"/>
        </p:nvSpPr>
        <p:spPr>
          <a:xfrm>
            <a:off x="-1" y="6245271"/>
            <a:ext cx="12192000" cy="6118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p>
        </p:txBody>
      </p:sp>
      <p:sp>
        <p:nvSpPr>
          <p:cNvPr id="6" name="TextBox 5"/>
          <p:cNvSpPr txBox="1"/>
          <p:nvPr userDrawn="1"/>
        </p:nvSpPr>
        <p:spPr>
          <a:xfrm>
            <a:off x="9440655" y="6420420"/>
            <a:ext cx="1050288" cy="187615"/>
          </a:xfrm>
          <a:prstGeom prst="rect">
            <a:avLst/>
          </a:prstGeom>
          <a:noFill/>
        </p:spPr>
        <p:txBody>
          <a:bodyPr wrap="none" rtlCol="0">
            <a:spAutoFit/>
          </a:bodyPr>
          <a:lstStyle/>
          <a:p>
            <a:r>
              <a:rPr lang="en-US" sz="619" b="1" dirty="0">
                <a:solidFill>
                  <a:schemeClr val="bg1"/>
                </a:solidFill>
                <a:ea typeface="Open Sans" panose="020B0606030504020204" pitchFamily="34" charset="0"/>
                <a:cs typeface="Open Sans" panose="020B0606030504020204" pitchFamily="34" charset="0"/>
              </a:rPr>
              <a:t>This is a Presentation Title</a:t>
            </a:r>
          </a:p>
        </p:txBody>
      </p:sp>
      <p:grpSp>
        <p:nvGrpSpPr>
          <p:cNvPr id="7" name="Group 6"/>
          <p:cNvGrpSpPr/>
          <p:nvPr userDrawn="1"/>
        </p:nvGrpSpPr>
        <p:grpSpPr>
          <a:xfrm>
            <a:off x="11154869" y="6440638"/>
            <a:ext cx="224083" cy="221098"/>
            <a:chOff x="4328868" y="5502988"/>
            <a:chExt cx="500307" cy="493774"/>
          </a:xfrm>
          <a:solidFill>
            <a:schemeClr val="bg1"/>
          </a:solidFill>
        </p:grpSpPr>
        <p:sp>
          <p:nvSpPr>
            <p:cNvPr id="8" name="Freeform 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grpFill/>
            <a:ln>
              <a:noFill/>
            </a:ln>
          </p:spPr>
          <p:txBody>
            <a:bodyPr vert="horz" wrap="square" lIns="91416" tIns="45708" rIns="91416" bIns="45708" numCol="1" anchor="t" anchorCtr="0" compatLnSpc="1">
              <a:prstTxWarp prst="textNoShape">
                <a:avLst/>
              </a:prstTxWarp>
            </a:bodyPr>
            <a:lstStyle/>
            <a:p>
              <a:endParaRPr lang="id-ID" sz="1349"/>
            </a:p>
          </p:txBody>
        </p:sp>
        <p:sp>
          <p:nvSpPr>
            <p:cNvPr id="9" name="Freeform 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grpFill/>
            <a:ln>
              <a:noFill/>
            </a:ln>
          </p:spPr>
          <p:txBody>
            <a:bodyPr vert="horz" wrap="square" lIns="91416" tIns="45708" rIns="91416" bIns="45708" numCol="1" anchor="t" anchorCtr="0" compatLnSpc="1">
              <a:prstTxWarp prst="textNoShape">
                <a:avLst/>
              </a:prstTxWarp>
            </a:bodyPr>
            <a:lstStyle/>
            <a:p>
              <a:endParaRPr lang="id-ID" sz="1349"/>
            </a:p>
          </p:txBody>
        </p:sp>
      </p:grpSp>
      <p:grpSp>
        <p:nvGrpSpPr>
          <p:cNvPr id="10" name="Group 9"/>
          <p:cNvGrpSpPr/>
          <p:nvPr userDrawn="1"/>
        </p:nvGrpSpPr>
        <p:grpSpPr>
          <a:xfrm flipH="1">
            <a:off x="11646173" y="6440638"/>
            <a:ext cx="224083" cy="221098"/>
            <a:chOff x="4328868" y="5502988"/>
            <a:chExt cx="500307" cy="493774"/>
          </a:xfrm>
          <a:solidFill>
            <a:schemeClr val="bg1"/>
          </a:solidFill>
        </p:grpSpPr>
        <p:sp>
          <p:nvSpPr>
            <p:cNvPr id="11" name="Freeform 1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grpFill/>
            <a:ln>
              <a:noFill/>
            </a:ln>
          </p:spPr>
          <p:txBody>
            <a:bodyPr vert="horz" wrap="square" lIns="91416" tIns="45708" rIns="91416" bIns="45708" numCol="1" anchor="t" anchorCtr="0" compatLnSpc="1">
              <a:prstTxWarp prst="textNoShape">
                <a:avLst/>
              </a:prstTxWarp>
            </a:bodyPr>
            <a:lstStyle/>
            <a:p>
              <a:endParaRPr lang="id-ID" sz="1349"/>
            </a:p>
          </p:txBody>
        </p:sp>
        <p:sp>
          <p:nvSpPr>
            <p:cNvPr id="12" name="Freeform 1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grpFill/>
            <a:ln>
              <a:noFill/>
            </a:ln>
          </p:spPr>
          <p:txBody>
            <a:bodyPr vert="horz" wrap="square" lIns="91416" tIns="45708" rIns="91416" bIns="45708" numCol="1" anchor="t" anchorCtr="0" compatLnSpc="1">
              <a:prstTxWarp prst="textNoShape">
                <a:avLst/>
              </a:prstTxWarp>
            </a:bodyPr>
            <a:lstStyle/>
            <a:p>
              <a:endParaRPr lang="id-ID" sz="1349"/>
            </a:p>
          </p:txBody>
        </p:sp>
      </p:grpSp>
      <p:sp>
        <p:nvSpPr>
          <p:cNvPr id="17" name="Slide Number Placeholder 16"/>
          <p:cNvSpPr>
            <a:spLocks noGrp="1"/>
          </p:cNvSpPr>
          <p:nvPr>
            <p:ph type="sldNum" sz="quarter" idx="12"/>
          </p:nvPr>
        </p:nvSpPr>
        <p:spPr>
          <a:xfrm>
            <a:off x="11202733" y="6323774"/>
            <a:ext cx="491305" cy="420448"/>
          </a:xfrm>
        </p:spPr>
        <p:txBody>
          <a:bodyPr/>
          <a:lstStyle>
            <a:lvl1pPr>
              <a:defRPr sz="619">
                <a:solidFill>
                  <a:schemeClr val="bg1"/>
                </a:solidFill>
              </a:defRPr>
            </a:lvl1pPr>
          </a:lstStyle>
          <a:p>
            <a:fld id="{96E69268-9C8B-4EBF-A9EE-DC5DC2D48DC3}" type="slidenum">
              <a:rPr lang="en-US" smtClean="0"/>
              <a:pPr/>
              <a:t>‹#›</a:t>
            </a:fld>
            <a:endParaRPr lang="en-US" dirty="0"/>
          </a:p>
        </p:txBody>
      </p:sp>
    </p:spTree>
    <p:extLst>
      <p:ext uri="{BB962C8B-B14F-4D97-AF65-F5344CB8AC3E}">
        <p14:creationId xmlns:p14="http://schemas.microsoft.com/office/powerpoint/2010/main" val="1531362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제목 및 내용">
    <p:bg>
      <p:bgPr>
        <a:solidFill>
          <a:schemeClr val="bg1"/>
        </a:solidFill>
        <a:effectLst/>
      </p:bgPr>
    </p:bg>
    <p:spTree>
      <p:nvGrpSpPr>
        <p:cNvPr id="1" name=""/>
        <p:cNvGrpSpPr/>
        <p:nvPr/>
      </p:nvGrpSpPr>
      <p:grpSpPr>
        <a:xfrm>
          <a:off x="0" y="0"/>
          <a:ext cx="0" cy="0"/>
          <a:chOff x="0" y="0"/>
          <a:chExt cx="0" cy="0"/>
        </a:xfrm>
      </p:grpSpPr>
      <p:pic>
        <p:nvPicPr>
          <p:cNvPr id="512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날짜 개체 틀 3"/>
          <p:cNvSpPr>
            <a:spLocks noGrp="1"/>
          </p:cNvSpPr>
          <p:nvPr>
            <p:ph type="dt" sz="half" idx="10"/>
          </p:nvPr>
        </p:nvSpPr>
        <p:spPr>
          <a:xfrm>
            <a:off x="609600" y="6500837"/>
            <a:ext cx="2844800" cy="220641"/>
          </a:xfrm>
        </p:spPr>
        <p:txBody>
          <a:bodyPr/>
          <a:lstStyle>
            <a:lvl1pPr>
              <a:defRPr baseline="0">
                <a:latin typeface="Calibri" panose="020F0502020204030204" pitchFamily="34" charset="0"/>
              </a:defRPr>
            </a:lvl1pPr>
          </a:lstStyle>
          <a:p>
            <a:fld id="{F6263AF1-99D9-4F90-89E9-2240D4602D32}" type="datetime1">
              <a:rPr lang="en-US" altLang="ko-KR" smtClean="0"/>
              <a:pPr/>
              <a:t>2/22/2023</a:t>
            </a:fld>
            <a:endParaRPr lang="ko-KR" altLang="en-US"/>
          </a:p>
        </p:txBody>
      </p:sp>
      <p:sp>
        <p:nvSpPr>
          <p:cNvPr id="5" name="바닥글 개체 틀 4"/>
          <p:cNvSpPr>
            <a:spLocks noGrp="1"/>
          </p:cNvSpPr>
          <p:nvPr>
            <p:ph type="ftr" sz="quarter" idx="11"/>
          </p:nvPr>
        </p:nvSpPr>
        <p:spPr>
          <a:xfrm>
            <a:off x="4165600" y="6500837"/>
            <a:ext cx="3860800" cy="220641"/>
          </a:xfrm>
        </p:spPr>
        <p:txBody>
          <a:bodyPr/>
          <a:lstStyle>
            <a:lvl1pPr>
              <a:defRPr baseline="0">
                <a:latin typeface="Calibri" panose="020F0502020204030204" pitchFamily="34" charset="0"/>
              </a:defRPr>
            </a:lvl1pPr>
          </a:lstStyle>
          <a:p>
            <a:r>
              <a:rPr lang="en-US" altLang="ko-KR"/>
              <a:t>Textile Fusion Limited </a:t>
            </a:r>
            <a:endParaRPr lang="ko-KR" altLang="en-US"/>
          </a:p>
        </p:txBody>
      </p:sp>
      <p:sp>
        <p:nvSpPr>
          <p:cNvPr id="6" name="슬라이드 번호 개체 틀 5"/>
          <p:cNvSpPr>
            <a:spLocks noGrp="1"/>
          </p:cNvSpPr>
          <p:nvPr>
            <p:ph type="sldNum" sz="quarter" idx="12"/>
          </p:nvPr>
        </p:nvSpPr>
        <p:spPr>
          <a:xfrm>
            <a:off x="8737600" y="6500837"/>
            <a:ext cx="2844800" cy="220641"/>
          </a:xfrm>
        </p:spPr>
        <p:txBody>
          <a:bodyPr/>
          <a:lstStyle>
            <a:lvl1pPr>
              <a:defRPr baseline="0">
                <a:latin typeface="Calibri" panose="020F0502020204030204" pitchFamily="34" charset="0"/>
              </a:defRPr>
            </a:lvl1pPr>
          </a:lstStyle>
          <a:p>
            <a:fld id="{EE6BC638-39B7-4287-91A7-2A3DDA573295}" type="slidenum">
              <a:rPr lang="ko-KR" altLang="en-US" smtClean="0"/>
              <a:pPr/>
              <a:t>‹#›</a:t>
            </a:fld>
            <a:endParaRPr lang="ko-KR" altLang="en-US"/>
          </a:p>
        </p:txBody>
      </p:sp>
      <p:sp>
        <p:nvSpPr>
          <p:cNvPr id="11" name="내용 개체 틀 2"/>
          <p:cNvSpPr>
            <a:spLocks noGrp="1"/>
          </p:cNvSpPr>
          <p:nvPr>
            <p:ph idx="1"/>
          </p:nvPr>
        </p:nvSpPr>
        <p:spPr>
          <a:xfrm>
            <a:off x="527383" y="1484784"/>
            <a:ext cx="11203367" cy="4881686"/>
          </a:xfrm>
        </p:spPr>
        <p:txBody>
          <a:bodyPr>
            <a:normAutofit/>
          </a:bodyPr>
          <a:lstStyle>
            <a:lvl1pPr algn="l">
              <a:buNone/>
              <a:defRPr sz="1200" i="1" baseline="0">
                <a:solidFill>
                  <a:schemeClr val="tx1">
                    <a:lumMod val="65000"/>
                    <a:lumOff val="35000"/>
                  </a:schemeClr>
                </a:solidFill>
                <a:latin typeface="Calibri" panose="020F0502020204030204" pitchFamily="34" charset="0"/>
                <a:ea typeface="맑은 고딕" pitchFamily="50" charset="-127"/>
              </a:defRPr>
            </a:lvl1pPr>
            <a:lvl2pPr algn="l">
              <a:buNone/>
              <a:defRPr sz="1200" i="1" baseline="0">
                <a:solidFill>
                  <a:schemeClr val="tx1">
                    <a:lumMod val="65000"/>
                    <a:lumOff val="35000"/>
                  </a:schemeClr>
                </a:solidFill>
                <a:latin typeface="Calibri" panose="020F0502020204030204" pitchFamily="34" charset="0"/>
                <a:ea typeface="맑은 고딕" pitchFamily="50" charset="-127"/>
              </a:defRPr>
            </a:lvl2pPr>
            <a:lvl3pPr algn="l">
              <a:buNone/>
              <a:defRPr sz="1200" i="1" baseline="0">
                <a:solidFill>
                  <a:schemeClr val="tx1">
                    <a:lumMod val="65000"/>
                    <a:lumOff val="35000"/>
                  </a:schemeClr>
                </a:solidFill>
                <a:latin typeface="Calibri" panose="020F0502020204030204" pitchFamily="34" charset="0"/>
                <a:ea typeface="맑은 고딕" pitchFamily="50" charset="-127"/>
              </a:defRPr>
            </a:lvl3pPr>
            <a:lvl4pPr algn="l">
              <a:buNone/>
              <a:defRPr sz="1200" i="1" baseline="0">
                <a:solidFill>
                  <a:schemeClr val="tx1">
                    <a:lumMod val="65000"/>
                    <a:lumOff val="35000"/>
                  </a:schemeClr>
                </a:solidFill>
                <a:latin typeface="Calibri" panose="020F0502020204030204" pitchFamily="34" charset="0"/>
                <a:ea typeface="맑은 고딕" pitchFamily="50" charset="-127"/>
              </a:defRPr>
            </a:lvl4pPr>
            <a:lvl5pPr algn="l">
              <a:buNone/>
              <a:defRPr sz="1200" i="1" baseline="0">
                <a:solidFill>
                  <a:schemeClr val="tx1">
                    <a:lumMod val="65000"/>
                    <a:lumOff val="35000"/>
                  </a:schemeClr>
                </a:solidFill>
                <a:latin typeface="Calibri" panose="020F0502020204030204" pitchFamily="34" charset="0"/>
                <a:ea typeface="맑은 고딕" pitchFamily="50" charset="-127"/>
              </a:defRPr>
            </a:lvl5pPr>
          </a:lstStyle>
          <a:p>
            <a:pPr lvl="0"/>
            <a:r>
              <a:rPr lang="ko-KR" altLang="en-US" dirty="0"/>
              <a:t>마스터 텍스트 스타일을 편집합니다</a:t>
            </a:r>
          </a:p>
          <a:p>
            <a:pPr lvl="1"/>
            <a:r>
              <a:rPr lang="ko-KR" altLang="en-US" dirty="0"/>
              <a:t>둘째 수준</a:t>
            </a:r>
          </a:p>
          <a:p>
            <a:pPr lvl="2"/>
            <a:r>
              <a:rPr lang="ko-KR" altLang="en-US" dirty="0"/>
              <a:t>셋째 수준</a:t>
            </a:r>
          </a:p>
          <a:p>
            <a:pPr lvl="3"/>
            <a:r>
              <a:rPr lang="ko-KR" altLang="en-US" dirty="0"/>
              <a:t>넷째 수준</a:t>
            </a:r>
          </a:p>
          <a:p>
            <a:pPr lvl="4"/>
            <a:r>
              <a:rPr lang="ko-KR" altLang="en-US" dirty="0"/>
              <a:t>다섯째 수준</a:t>
            </a:r>
          </a:p>
        </p:txBody>
      </p:sp>
      <p:sp>
        <p:nvSpPr>
          <p:cNvPr id="8" name="제목 1"/>
          <p:cNvSpPr>
            <a:spLocks noGrp="1"/>
          </p:cNvSpPr>
          <p:nvPr>
            <p:ph type="title"/>
          </p:nvPr>
        </p:nvSpPr>
        <p:spPr>
          <a:xfrm>
            <a:off x="166784" y="-10556"/>
            <a:ext cx="10214928" cy="796908"/>
          </a:xfrm>
        </p:spPr>
        <p:txBody>
          <a:bodyPr vert="horz" lIns="91440" tIns="45720" rIns="91440" bIns="45720" rtlCol="0" anchor="ctr">
            <a:normAutofit/>
          </a:bodyPr>
          <a:lstStyle>
            <a:lvl1pPr algn="l" defTabSz="685800" rtl="0" eaLnBrk="1" latinLnBrk="1" hangingPunct="1">
              <a:spcBef>
                <a:spcPct val="0"/>
              </a:spcBef>
              <a:buNone/>
              <a:defRPr lang="ko-KR" altLang="en-US" sz="1875" b="1" kern="1200" baseline="0" dirty="0">
                <a:solidFill>
                  <a:schemeClr val="bg1"/>
                </a:solidFill>
                <a:latin typeface="Calibri" panose="020F0502020204030204" pitchFamily="34" charset="0"/>
                <a:ea typeface="맑은 고딕" pitchFamily="50" charset="-127"/>
                <a:cs typeface="+mj-cs"/>
              </a:defRPr>
            </a:lvl1pPr>
          </a:lstStyle>
          <a:p>
            <a:r>
              <a:rPr lang="ko-KR" altLang="en-US" dirty="0"/>
              <a:t>마스터 제목 스타일 편집</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6456" name="think-cell Slide" r:id="rId4" imgW="360" imgH="360" progId="">
                  <p:embed/>
                </p:oleObj>
              </mc:Choice>
              <mc:Fallback>
                <p:oleObj name="think-cell Slide" r:id="rId4" imgW="360" imgH="360" progId="">
                  <p:embed/>
                  <p:pic>
                    <p:nvPicPr>
                      <p:cNvPr id="0" name="Picture 2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Placeholder 2"/>
          <p:cNvSpPr>
            <a:spLocks noGrp="1"/>
          </p:cNvSpPr>
          <p:nvPr>
            <p:ph type="title"/>
          </p:nvPr>
        </p:nvSpPr>
        <p:spPr>
          <a:xfrm>
            <a:off x="560755" y="157528"/>
            <a:ext cx="11040000" cy="633885"/>
          </a:xfrm>
          <a:prstGeom prst="rect">
            <a:avLst/>
          </a:prstGeom>
        </p:spPr>
        <p:txBody>
          <a:bodyPr vert="horz" lIns="0" tIns="18000" rIns="91440" bIns="18000" rtlCol="0" anchor="ctr">
            <a:noAutofit/>
          </a:bodyPr>
          <a:lstStyle/>
          <a:p>
            <a:r>
              <a:rPr lang="en-US" dirty="0"/>
              <a:t>Click to edit Master title style</a:t>
            </a:r>
            <a:endParaRPr lang="en-GB" dirty="0"/>
          </a:p>
        </p:txBody>
      </p:sp>
    </p:spTree>
    <p:extLst>
      <p:ext uri="{BB962C8B-B14F-4D97-AF65-F5344CB8AC3E}">
        <p14:creationId xmlns:p14="http://schemas.microsoft.com/office/powerpoint/2010/main" val="19243458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endParaRPr lang="en-GB" dirty="0"/>
          </a:p>
        </p:txBody>
      </p:sp>
    </p:spTree>
    <p:extLst>
      <p:ext uri="{BB962C8B-B14F-4D97-AF65-F5344CB8AC3E}">
        <p14:creationId xmlns:p14="http://schemas.microsoft.com/office/powerpoint/2010/main" val="16647846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4188" name="think-cell Slide" r:id="rId4" imgW="360" imgH="360" progId="">
                  <p:embed/>
                </p:oleObj>
              </mc:Choice>
              <mc:Fallback>
                <p:oleObj name="think-cell Slide" r:id="rId4" imgW="360" imgH="360" progId="">
                  <p:embed/>
                  <p:pic>
                    <p:nvPicPr>
                      <p:cNvPr id="0" name="Picture 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560919" y="1280163"/>
            <a:ext cx="11039837" cy="4368799"/>
          </a:xfrm>
          <a:prstGeom prst="rect">
            <a:avLst/>
          </a:prstGeom>
        </p:spPr>
        <p:txBody>
          <a:bodyPr lIns="0" rIns="0"/>
          <a:lstStyle>
            <a:lvl1pPr marL="0" indent="0">
              <a:defRPr sz="1200"/>
            </a:lvl1pPr>
            <a:lvl3pPr marL="340519" indent="-128588">
              <a:buClr>
                <a:schemeClr val="tx2"/>
              </a:buClr>
              <a:buFont typeface="Wingdings" panose="05000000000000000000" pitchFamily="2" charset="2"/>
              <a:buChar char="§"/>
              <a:defRPr sz="1200" baseline="0"/>
            </a:lvl3pPr>
            <a:lvl4pPr marL="685800" indent="-171450">
              <a:buClr>
                <a:schemeClr val="tx2"/>
              </a:buClr>
              <a:defRPr sz="1200"/>
            </a:lvl4pPr>
          </a:lstStyle>
          <a:p>
            <a:pPr marL="128588" lvl="1" indent="-128588">
              <a:buClr>
                <a:schemeClr val="tx2"/>
              </a:buClr>
              <a:buFont typeface="Wingdings" pitchFamily="2" charset="2"/>
              <a:buChar char="§"/>
            </a:pPr>
            <a:r>
              <a:rPr lang="en-GB" sz="1050" dirty="0">
                <a:latin typeface="Arial" panose="020B0604020202020204" pitchFamily="34" charset="0"/>
                <a:cs typeface="Arial" panose="020B0604020202020204" pitchFamily="34" charset="0"/>
              </a:rPr>
              <a:t>Text</a:t>
            </a:r>
          </a:p>
          <a:p>
            <a:pPr marL="346472" lvl="2" indent="-135731">
              <a:buClr>
                <a:schemeClr val="tx2"/>
              </a:buClr>
              <a:buFont typeface="Arial" charset="0"/>
              <a:buChar char="–"/>
            </a:pPr>
            <a:r>
              <a:rPr lang="en-GB" sz="1050" dirty="0">
                <a:latin typeface="Arial" panose="020B0604020202020204" pitchFamily="34" charset="0"/>
                <a:cs typeface="Arial" panose="020B0604020202020204" pitchFamily="34" charset="0"/>
              </a:rPr>
              <a:t>Text</a:t>
            </a:r>
          </a:p>
          <a:p>
            <a:pPr marL="557213" lvl="1" indent="-127397">
              <a:buClr>
                <a:schemeClr val="tx2"/>
              </a:buClr>
              <a:buFont typeface="Wingdings" pitchFamily="2" charset="2"/>
              <a:buChar char="§"/>
            </a:pPr>
            <a:r>
              <a:rPr lang="en-GB" sz="1050" dirty="0">
                <a:latin typeface="Arial" panose="020B0604020202020204" pitchFamily="34" charset="0"/>
                <a:cs typeface="Arial" panose="020B0604020202020204" pitchFamily="34" charset="0"/>
              </a:rPr>
              <a:t>Text</a:t>
            </a:r>
          </a:p>
        </p:txBody>
      </p:sp>
      <p:sp>
        <p:nvSpPr>
          <p:cNvPr id="5" name="Rectangle 4"/>
          <p:cNvSpPr/>
          <p:nvPr userDrawn="1"/>
        </p:nvSpPr>
        <p:spPr>
          <a:xfrm>
            <a:off x="5168504" y="-59010"/>
            <a:ext cx="1854995" cy="184666"/>
          </a:xfrm>
          <a:prstGeom prst="rect">
            <a:avLst/>
          </a:prstGeom>
        </p:spPr>
        <p:txBody>
          <a:bodyPr wrap="none">
            <a:spAutoFit/>
          </a:bodyPr>
          <a:lstStyle/>
          <a:p>
            <a:pPr algn="ctr"/>
            <a:r>
              <a:rPr lang="en-US" sz="600" kern="1200" dirty="0">
                <a:solidFill>
                  <a:srgbClr val="FF0000"/>
                </a:solidFill>
                <a:effectLst/>
                <a:latin typeface="+mn-lt"/>
                <a:ea typeface="+mn-ea"/>
                <a:cs typeface="+mn-cs"/>
              </a:rPr>
              <a:t>-</a:t>
            </a:r>
            <a:r>
              <a:rPr lang="en-US" sz="600" kern="1200" baseline="0" dirty="0">
                <a:solidFill>
                  <a:srgbClr val="FF0000"/>
                </a:solidFill>
                <a:effectLst/>
                <a:latin typeface="+mn-lt"/>
                <a:ea typeface="+mn-ea"/>
                <a:cs typeface="+mn-cs"/>
              </a:rPr>
              <a:t> </a:t>
            </a:r>
            <a:r>
              <a:rPr lang="en-US" sz="600" kern="1200" dirty="0">
                <a:solidFill>
                  <a:srgbClr val="FF0000"/>
                </a:solidFill>
                <a:effectLst/>
                <a:latin typeface="+mn-lt"/>
                <a:ea typeface="+mn-ea"/>
                <a:cs typeface="+mn-cs"/>
              </a:rPr>
              <a:t>Highly Confidential – For Authorized Use Only -</a:t>
            </a:r>
            <a:endParaRPr lang="en-US" sz="600" dirty="0">
              <a:solidFill>
                <a:srgbClr val="FF0000"/>
              </a:solidFill>
            </a:endParaRPr>
          </a:p>
        </p:txBody>
      </p:sp>
    </p:spTree>
    <p:extLst>
      <p:ext uri="{BB962C8B-B14F-4D97-AF65-F5344CB8AC3E}">
        <p14:creationId xmlns:p14="http://schemas.microsoft.com/office/powerpoint/2010/main" val="31342925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4" name="TextBox 3"/>
          <p:cNvSpPr txBox="1"/>
          <p:nvPr userDrawn="1"/>
        </p:nvSpPr>
        <p:spPr>
          <a:xfrm>
            <a:off x="4569653" y="4924873"/>
            <a:ext cx="6666075" cy="1107996"/>
          </a:xfrm>
          <a:prstGeom prst="rect">
            <a:avLst/>
          </a:prstGeom>
          <a:noFill/>
        </p:spPr>
        <p:txBody>
          <a:bodyPr wrap="square" lIns="0" tIns="0" rIns="0" bIns="0" rtlCol="0" anchor="b">
            <a:spAutoFit/>
          </a:bodyPr>
          <a:lstStyle/>
          <a:p>
            <a:r>
              <a:rPr lang="en-US" sz="2700" dirty="0">
                <a:solidFill>
                  <a:srgbClr val="FFFFFF"/>
                </a:solidFill>
                <a:latin typeface="Arial" panose="020B0604020202020204" pitchFamily="34" charset="0"/>
                <a:cs typeface="Arial" panose="020B0604020202020204" pitchFamily="34" charset="0"/>
              </a:rPr>
              <a:t>Presentation Name</a:t>
            </a:r>
            <a:r>
              <a:rPr lang="en-US" sz="1500" dirty="0">
                <a:solidFill>
                  <a:srgbClr val="FFFFFF"/>
                </a:solidFill>
                <a:latin typeface="Arial" panose="020B0604020202020204" pitchFamily="34" charset="0"/>
                <a:cs typeface="Arial" panose="020B0604020202020204" pitchFamily="34" charset="0"/>
              </a:rPr>
              <a:t> </a:t>
            </a:r>
          </a:p>
          <a:p>
            <a:endParaRPr lang="en-US" sz="1500" dirty="0">
              <a:solidFill>
                <a:srgbClr val="FFFFFF"/>
              </a:solidFill>
              <a:latin typeface="Arial" panose="020B0604020202020204" pitchFamily="34" charset="0"/>
              <a:cs typeface="Arial" panose="020B0604020202020204" pitchFamily="34" charset="0"/>
            </a:endParaRPr>
          </a:p>
          <a:p>
            <a:r>
              <a:rPr lang="en-US" sz="1500" dirty="0">
                <a:solidFill>
                  <a:schemeClr val="bg1"/>
                </a:solidFill>
                <a:latin typeface="Arial" panose="020B0604020202020204" pitchFamily="34" charset="0"/>
                <a:cs typeface="Arial" panose="020B0604020202020204" pitchFamily="34" charset="0"/>
              </a:rPr>
              <a:t>Location / Presenter / Team</a:t>
            </a:r>
            <a:r>
              <a:rPr lang="en-US" sz="1500" baseline="0" dirty="0">
                <a:solidFill>
                  <a:schemeClr val="bg1"/>
                </a:solidFill>
                <a:latin typeface="Arial" panose="020B0604020202020204" pitchFamily="34" charset="0"/>
                <a:cs typeface="Arial" panose="020B0604020202020204" pitchFamily="34" charset="0"/>
              </a:rPr>
              <a:t> / etc.</a:t>
            </a:r>
            <a:endParaRPr lang="en-US" sz="1500" dirty="0">
              <a:solidFill>
                <a:schemeClr val="bg1"/>
              </a:solidFill>
              <a:latin typeface="Arial" panose="020B0604020202020204" pitchFamily="34" charset="0"/>
              <a:cs typeface="Arial" panose="020B0604020202020204" pitchFamily="34" charset="0"/>
            </a:endParaRPr>
          </a:p>
          <a:p>
            <a:r>
              <a:rPr lang="en-US" sz="1500" dirty="0">
                <a:solidFill>
                  <a:schemeClr val="bg1"/>
                </a:solidFill>
                <a:latin typeface="Arial" panose="020B0604020202020204" pitchFamily="34" charset="0"/>
                <a:cs typeface="Arial" panose="020B0604020202020204" pitchFamily="34" charset="0"/>
              </a:rPr>
              <a:t>Date</a:t>
            </a:r>
          </a:p>
        </p:txBody>
      </p:sp>
    </p:spTree>
    <p:extLst>
      <p:ext uri="{BB962C8B-B14F-4D97-AF65-F5344CB8AC3E}">
        <p14:creationId xmlns:p14="http://schemas.microsoft.com/office/powerpoint/2010/main" val="9322416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4353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4" name="Picture 3"/>
          <p:cNvPicPr>
            <a:picLocks noChangeAspect="1"/>
          </p:cNvPicPr>
          <p:nvPr userDrawn="1"/>
        </p:nvPicPr>
        <p:blipFill>
          <a:blip r:embed="rId2"/>
          <a:stretch>
            <a:fillRect/>
          </a:stretch>
        </p:blipFill>
        <p:spPr>
          <a:xfrm>
            <a:off x="3704049" y="2704468"/>
            <a:ext cx="4783911" cy="1449071"/>
          </a:xfrm>
          <a:prstGeom prst="rect">
            <a:avLst/>
          </a:prstGeom>
        </p:spPr>
      </p:pic>
      <p:pic>
        <p:nvPicPr>
          <p:cNvPr id="6" name="Picture 5"/>
          <p:cNvPicPr>
            <a:picLocks noChangeAspect="1"/>
          </p:cNvPicPr>
          <p:nvPr userDrawn="1"/>
        </p:nvPicPr>
        <p:blipFill>
          <a:blip r:embed="rId3"/>
          <a:stretch>
            <a:fillRect/>
          </a:stretch>
        </p:blipFill>
        <p:spPr>
          <a:xfrm>
            <a:off x="2040468" y="4997030"/>
            <a:ext cx="8111067" cy="338667"/>
          </a:xfrm>
          <a:prstGeom prst="rect">
            <a:avLst/>
          </a:prstGeom>
        </p:spPr>
      </p:pic>
    </p:spTree>
    <p:extLst>
      <p:ext uri="{BB962C8B-B14F-4D97-AF65-F5344CB8AC3E}">
        <p14:creationId xmlns:p14="http://schemas.microsoft.com/office/powerpoint/2010/main" val="4673470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2119"/>
          <a:ext cx="2117" cy="2116"/>
        </p:xfrm>
        <a:graphic>
          <a:graphicData uri="http://schemas.openxmlformats.org/presentationml/2006/ole">
            <mc:AlternateContent xmlns:mc="http://schemas.openxmlformats.org/markup-compatibility/2006">
              <mc:Choice xmlns:v="urn:schemas-microsoft-com:vml" Requires="v">
                <p:oleObj spid="_x0000_s6236" name="think-cell Slide" r:id="rId4" imgW="360" imgH="360" progId="">
                  <p:embed/>
                </p:oleObj>
              </mc:Choice>
              <mc:Fallback>
                <p:oleObj name="think-cell Slide" r:id="rId4" imgW="360" imgH="360" progId="">
                  <p:embed/>
                  <p:pic>
                    <p:nvPicPr>
                      <p:cNvPr id="0" name="Picture 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Autofit/>
          </a:bodyPr>
          <a:lstStyle/>
          <a:p>
            <a:r>
              <a:rPr lang="en-US" dirty="0"/>
              <a:t>Click to edit Master title style</a:t>
            </a:r>
            <a:endParaRPr lang="en-GB" dirty="0"/>
          </a:p>
        </p:txBody>
      </p:sp>
    </p:spTree>
    <p:extLst>
      <p:ext uri="{BB962C8B-B14F-4D97-AF65-F5344CB8AC3E}">
        <p14:creationId xmlns:p14="http://schemas.microsoft.com/office/powerpoint/2010/main" val="4453808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7260" name="think-cell Slide" r:id="rId4" imgW="360" imgH="360" progId="">
                  <p:embed/>
                </p:oleObj>
              </mc:Choice>
              <mc:Fallback>
                <p:oleObj name="think-cell Slide" r:id="rId4" imgW="360" imgH="360" progId="">
                  <p:embed/>
                  <p:pic>
                    <p:nvPicPr>
                      <p:cNvPr id="0" name="Picture 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Autofit/>
          </a:bodyPr>
          <a:lstStyle/>
          <a:p>
            <a:r>
              <a:rPr lang="en-US" dirty="0"/>
              <a:t>Click to edit Master title style</a:t>
            </a:r>
          </a:p>
        </p:txBody>
      </p:sp>
    </p:spTree>
    <p:extLst>
      <p:ext uri="{BB962C8B-B14F-4D97-AF65-F5344CB8AC3E}">
        <p14:creationId xmlns:p14="http://schemas.microsoft.com/office/powerpoint/2010/main" val="9679941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8284" name="think-cell Slide" r:id="rId4" imgW="360" imgH="360" progId="">
                  <p:embed/>
                </p:oleObj>
              </mc:Choice>
              <mc:Fallback>
                <p:oleObj name="think-cell Slide" r:id="rId4" imgW="360" imgH="360" progId="">
                  <p:embed/>
                  <p:pic>
                    <p:nvPicPr>
                      <p:cNvPr id="0" name="Picture 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916283" y="653765"/>
            <a:ext cx="10972800" cy="631295"/>
          </a:xfrm>
          <a:prstGeom prst="rect">
            <a:avLst/>
          </a:prstGeom>
        </p:spPr>
        <p:txBody>
          <a:bodyPr lIns="0" tIns="0"/>
          <a:lstStyle>
            <a:lvl1pPr>
              <a:defRPr sz="1800">
                <a:latin typeface="Century"/>
                <a:cs typeface="Century"/>
              </a:defRPr>
            </a:lvl1pPr>
          </a:lstStyle>
          <a:p>
            <a:r>
              <a:rPr lang="en-US" dirty="0"/>
              <a:t>CLICK TO EDIT MASTER TITLE STYLE</a:t>
            </a:r>
          </a:p>
        </p:txBody>
      </p:sp>
      <p:sp>
        <p:nvSpPr>
          <p:cNvPr id="6" name="Rectangle 5"/>
          <p:cNvSpPr/>
          <p:nvPr userDrawn="1"/>
        </p:nvSpPr>
        <p:spPr>
          <a:xfrm>
            <a:off x="11728704" y="5920560"/>
            <a:ext cx="463296" cy="463296"/>
          </a:xfrm>
          <a:prstGeom prst="rect">
            <a:avLst/>
          </a:prstGeom>
          <a:solidFill>
            <a:srgbClr val="CF0A2C"/>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350"/>
          </a:p>
        </p:txBody>
      </p:sp>
      <p:sp>
        <p:nvSpPr>
          <p:cNvPr id="7" name="Slide Number Placeholder 5"/>
          <p:cNvSpPr txBox="1">
            <a:spLocks/>
          </p:cNvSpPr>
          <p:nvPr userDrawn="1"/>
        </p:nvSpPr>
        <p:spPr>
          <a:xfrm>
            <a:off x="11728704" y="6025085"/>
            <a:ext cx="463296"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84D90855-015E-C745-82CE-9BD2EBFF7EA9}" type="slidenum">
              <a:rPr lang="en-US" sz="750" smtClean="0">
                <a:solidFill>
                  <a:schemeClr val="bg1"/>
                </a:solidFill>
                <a:latin typeface="Arial Narrow"/>
                <a:cs typeface="Arial Narrow"/>
              </a:rPr>
              <a:pPr algn="ctr"/>
              <a:t>‹#›</a:t>
            </a:fld>
            <a:endParaRPr lang="en-US" sz="750" dirty="0">
              <a:solidFill>
                <a:schemeClr val="bg1"/>
              </a:solidFill>
              <a:latin typeface="Arial Narrow"/>
              <a:cs typeface="Arial Narrow"/>
            </a:endParaRPr>
          </a:p>
        </p:txBody>
      </p:sp>
      <p:sp>
        <p:nvSpPr>
          <p:cNvPr id="9" name="Rectangle 8"/>
          <p:cNvSpPr/>
          <p:nvPr userDrawn="1"/>
        </p:nvSpPr>
        <p:spPr>
          <a:xfrm>
            <a:off x="0" y="6707971"/>
            <a:ext cx="12192000" cy="15849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350" dirty="0"/>
          </a:p>
        </p:txBody>
      </p:sp>
      <p:pic>
        <p:nvPicPr>
          <p:cNvPr id="3" name="Picture 2" descr="Logo small.png"/>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16286" y="5854703"/>
            <a:ext cx="523607" cy="535507"/>
          </a:xfrm>
          <a:prstGeom prst="rect">
            <a:avLst/>
          </a:prstGeom>
        </p:spPr>
      </p:pic>
    </p:spTree>
    <p:extLst>
      <p:ext uri="{BB962C8B-B14F-4D97-AF65-F5344CB8AC3E}">
        <p14:creationId xmlns:p14="http://schemas.microsoft.com/office/powerpoint/2010/main" val="39465064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84CF14B-2803-492F-8958-8EDD28B417D2}" type="datetimeFigureOut">
              <a:rPr lang="en-US" smtClean="0"/>
              <a:pPr/>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936822-2815-4A98-B8E1-2BBE0B69F322}" type="slidenum">
              <a:rPr lang="en-US" smtClean="0"/>
              <a:pPr/>
              <a:t>‹#›</a:t>
            </a:fld>
            <a:endParaRPr lang="en-US"/>
          </a:p>
        </p:txBody>
      </p:sp>
    </p:spTree>
    <p:extLst>
      <p:ext uri="{BB962C8B-B14F-4D97-AF65-F5344CB8AC3E}">
        <p14:creationId xmlns:p14="http://schemas.microsoft.com/office/powerpoint/2010/main" val="9704399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4CF14B-2803-492F-8958-8EDD28B417D2}" type="datetimeFigureOut">
              <a:rPr lang="en-US" smtClean="0"/>
              <a:pPr/>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936822-2815-4A98-B8E1-2BBE0B69F322}" type="slidenum">
              <a:rPr lang="en-US" smtClean="0"/>
              <a:pPr/>
              <a:t>‹#›</a:t>
            </a:fld>
            <a:endParaRPr lang="en-US"/>
          </a:p>
        </p:txBody>
      </p:sp>
    </p:spTree>
    <p:extLst>
      <p:ext uri="{BB962C8B-B14F-4D97-AF65-F5344CB8AC3E}">
        <p14:creationId xmlns:p14="http://schemas.microsoft.com/office/powerpoint/2010/main" val="19335894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사용자 지정 레이아웃">
    <p:bg>
      <p:bgPr>
        <a:solidFill>
          <a:schemeClr val="bg1"/>
        </a:solidFill>
        <a:effectLst/>
      </p:bgPr>
    </p:bg>
    <p:spTree>
      <p:nvGrpSpPr>
        <p:cNvPr id="1" name=""/>
        <p:cNvGrpSpPr/>
        <p:nvPr/>
      </p:nvGrpSpPr>
      <p:grpSpPr>
        <a:xfrm>
          <a:off x="0" y="0"/>
          <a:ext cx="0" cy="0"/>
          <a:chOff x="0" y="0"/>
          <a:chExt cx="0" cy="0"/>
        </a:xfrm>
      </p:grpSpPr>
      <p:pic>
        <p:nvPicPr>
          <p:cNvPr id="614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날짜 개체 틀 2"/>
          <p:cNvSpPr>
            <a:spLocks noGrp="1"/>
          </p:cNvSpPr>
          <p:nvPr>
            <p:ph type="dt" sz="half" idx="10"/>
          </p:nvPr>
        </p:nvSpPr>
        <p:spPr/>
        <p:txBody>
          <a:bodyPr/>
          <a:lstStyle>
            <a:lvl1pPr>
              <a:defRPr baseline="0">
                <a:latin typeface="Calibri" panose="020F0502020204030204" pitchFamily="34" charset="0"/>
              </a:defRPr>
            </a:lvl1pPr>
          </a:lstStyle>
          <a:p>
            <a:fld id="{A512C4BF-DBAA-43D0-A0A6-7F400F6EE439}" type="datetime1">
              <a:rPr lang="en-US" altLang="ko-KR" smtClean="0"/>
              <a:pPr/>
              <a:t>2/22/2023</a:t>
            </a:fld>
            <a:endParaRPr lang="ko-KR" altLang="en-US"/>
          </a:p>
        </p:txBody>
      </p:sp>
      <p:sp>
        <p:nvSpPr>
          <p:cNvPr id="4" name="바닥글 개체 틀 3"/>
          <p:cNvSpPr>
            <a:spLocks noGrp="1"/>
          </p:cNvSpPr>
          <p:nvPr>
            <p:ph type="ftr" sz="quarter" idx="11"/>
          </p:nvPr>
        </p:nvSpPr>
        <p:spPr/>
        <p:txBody>
          <a:bodyPr/>
          <a:lstStyle>
            <a:lvl1pPr>
              <a:defRPr baseline="0">
                <a:latin typeface="Calibri" panose="020F0502020204030204" pitchFamily="34" charset="0"/>
              </a:defRPr>
            </a:lvl1pPr>
          </a:lstStyle>
          <a:p>
            <a:r>
              <a:rPr lang="en-US" altLang="ko-KR"/>
              <a:t>Textile Fusion Limited </a:t>
            </a:r>
            <a:endParaRPr lang="ko-KR" altLang="en-US"/>
          </a:p>
        </p:txBody>
      </p:sp>
      <p:sp>
        <p:nvSpPr>
          <p:cNvPr id="5" name="슬라이드 번호 개체 틀 4"/>
          <p:cNvSpPr>
            <a:spLocks noGrp="1"/>
          </p:cNvSpPr>
          <p:nvPr>
            <p:ph type="sldNum" sz="quarter" idx="12"/>
          </p:nvPr>
        </p:nvSpPr>
        <p:spPr/>
        <p:txBody>
          <a:bodyPr/>
          <a:lstStyle>
            <a:lvl1pPr>
              <a:defRPr baseline="0">
                <a:latin typeface="Calibri" panose="020F0502020204030204" pitchFamily="34" charset="0"/>
              </a:defRPr>
            </a:lvl1pPr>
          </a:lstStyle>
          <a:p>
            <a:fld id="{EE6BC638-39B7-4287-91A7-2A3DDA573295}" type="slidenum">
              <a:rPr lang="ko-KR" altLang="en-US" smtClean="0"/>
              <a:pPr/>
              <a:t>‹#›</a:t>
            </a:fld>
            <a:endParaRPr lang="ko-KR" altLang="en-US"/>
          </a:p>
        </p:txBody>
      </p:sp>
      <p:sp>
        <p:nvSpPr>
          <p:cNvPr id="6" name="제목 1"/>
          <p:cNvSpPr>
            <a:spLocks noGrp="1"/>
          </p:cNvSpPr>
          <p:nvPr>
            <p:ph type="ctrTitle"/>
          </p:nvPr>
        </p:nvSpPr>
        <p:spPr>
          <a:xfrm>
            <a:off x="2062846" y="1772816"/>
            <a:ext cx="8066313" cy="1224136"/>
          </a:xfrm>
          <a:noFill/>
          <a:ln w="9525">
            <a:noFill/>
            <a:miter lim="800000"/>
            <a:headEnd/>
            <a:tailEnd/>
          </a:ln>
        </p:spPr>
        <p:txBody>
          <a:bodyPr vert="horz" wrap="square" lIns="91440" tIns="45720" rIns="91440" bIns="45720" numCol="1" rtlCol="0" anchor="t" anchorCtr="0" compatLnSpc="1">
            <a:prstTxWarp prst="textNoShape">
              <a:avLst/>
            </a:prstTxWarp>
            <a:noAutofit/>
          </a:bodyPr>
          <a:lstStyle>
            <a:lvl1pPr marL="0" indent="0" algn="ctr" defTabSz="685800" rtl="0" eaLnBrk="1" fontAlgn="base" latinLnBrk="1" hangingPunct="1">
              <a:lnSpc>
                <a:spcPct val="100000"/>
              </a:lnSpc>
              <a:spcBef>
                <a:spcPct val="0"/>
              </a:spcBef>
              <a:spcAft>
                <a:spcPct val="0"/>
              </a:spcAft>
              <a:buClr>
                <a:schemeClr val="hlink"/>
              </a:buClr>
              <a:buFont typeface="굴림체" pitchFamily="49" charset="-127"/>
              <a:buNone/>
              <a:defRPr lang="ko-KR" altLang="en-US" sz="5250" kern="1200" baseline="0" dirty="0">
                <a:solidFill>
                  <a:srgbClr val="2D2F2D"/>
                </a:solidFill>
                <a:effectLst/>
                <a:latin typeface="Calibri" panose="020F0502020204030204" pitchFamily="34" charset="0"/>
                <a:ea typeface="맑은 고딕" pitchFamily="50" charset="-127"/>
                <a:cs typeface="+mj-cs"/>
              </a:defRPr>
            </a:lvl1pPr>
          </a:lstStyle>
          <a:p>
            <a:endParaRPr lang="ko-KR" alt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84CF14B-2803-492F-8958-8EDD28B417D2}" type="datetimeFigureOut">
              <a:rPr lang="en-US" smtClean="0"/>
              <a:pPr/>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936822-2815-4A98-B8E1-2BBE0B69F322}" type="slidenum">
              <a:rPr lang="en-US" smtClean="0"/>
              <a:pPr/>
              <a:t>‹#›</a:t>
            </a:fld>
            <a:endParaRPr lang="en-US"/>
          </a:p>
        </p:txBody>
      </p:sp>
    </p:spTree>
    <p:extLst>
      <p:ext uri="{BB962C8B-B14F-4D97-AF65-F5344CB8AC3E}">
        <p14:creationId xmlns:p14="http://schemas.microsoft.com/office/powerpoint/2010/main" val="36552503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84CF14B-2803-492F-8958-8EDD28B417D2}" type="datetimeFigureOut">
              <a:rPr lang="en-US" smtClean="0"/>
              <a:pPr/>
              <a:t>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936822-2815-4A98-B8E1-2BBE0B69F322}" type="slidenum">
              <a:rPr lang="en-US" smtClean="0"/>
              <a:pPr/>
              <a:t>‹#›</a:t>
            </a:fld>
            <a:endParaRPr lang="en-US"/>
          </a:p>
        </p:txBody>
      </p:sp>
    </p:spTree>
    <p:extLst>
      <p:ext uri="{BB962C8B-B14F-4D97-AF65-F5344CB8AC3E}">
        <p14:creationId xmlns:p14="http://schemas.microsoft.com/office/powerpoint/2010/main" val="22162805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84CF14B-2803-492F-8958-8EDD28B417D2}" type="datetimeFigureOut">
              <a:rPr lang="en-US" smtClean="0"/>
              <a:pPr/>
              <a:t>2/2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2936822-2815-4A98-B8E1-2BBE0B69F322}" type="slidenum">
              <a:rPr lang="en-US" smtClean="0"/>
              <a:pPr/>
              <a:t>‹#›</a:t>
            </a:fld>
            <a:endParaRPr lang="en-US"/>
          </a:p>
        </p:txBody>
      </p:sp>
    </p:spTree>
    <p:extLst>
      <p:ext uri="{BB962C8B-B14F-4D97-AF65-F5344CB8AC3E}">
        <p14:creationId xmlns:p14="http://schemas.microsoft.com/office/powerpoint/2010/main" val="2222199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84CF14B-2803-492F-8958-8EDD28B417D2}" type="datetimeFigureOut">
              <a:rPr lang="en-US" smtClean="0"/>
              <a:pPr/>
              <a:t>2/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2936822-2815-4A98-B8E1-2BBE0B69F322}" type="slidenum">
              <a:rPr lang="en-US" smtClean="0"/>
              <a:pPr/>
              <a:t>‹#›</a:t>
            </a:fld>
            <a:endParaRPr lang="en-US"/>
          </a:p>
        </p:txBody>
      </p:sp>
    </p:spTree>
    <p:extLst>
      <p:ext uri="{BB962C8B-B14F-4D97-AF65-F5344CB8AC3E}">
        <p14:creationId xmlns:p14="http://schemas.microsoft.com/office/powerpoint/2010/main" val="39585279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4CF14B-2803-492F-8958-8EDD28B417D2}" type="datetimeFigureOut">
              <a:rPr lang="en-US" smtClean="0"/>
              <a:pPr/>
              <a:t>2/2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2936822-2815-4A98-B8E1-2BBE0B69F322}" type="slidenum">
              <a:rPr lang="en-US" smtClean="0"/>
              <a:pPr/>
              <a:t>‹#›</a:t>
            </a:fld>
            <a:endParaRPr lang="en-US"/>
          </a:p>
        </p:txBody>
      </p:sp>
    </p:spTree>
    <p:extLst>
      <p:ext uri="{BB962C8B-B14F-4D97-AF65-F5344CB8AC3E}">
        <p14:creationId xmlns:p14="http://schemas.microsoft.com/office/powerpoint/2010/main" val="14059682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84CF14B-2803-492F-8958-8EDD28B417D2}" type="datetimeFigureOut">
              <a:rPr lang="en-US" smtClean="0"/>
              <a:pPr/>
              <a:t>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936822-2815-4A98-B8E1-2BBE0B69F322}" type="slidenum">
              <a:rPr lang="en-US" smtClean="0"/>
              <a:pPr/>
              <a:t>‹#›</a:t>
            </a:fld>
            <a:endParaRPr lang="en-US"/>
          </a:p>
        </p:txBody>
      </p:sp>
    </p:spTree>
    <p:extLst>
      <p:ext uri="{BB962C8B-B14F-4D97-AF65-F5344CB8AC3E}">
        <p14:creationId xmlns:p14="http://schemas.microsoft.com/office/powerpoint/2010/main" val="6432750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84CF14B-2803-492F-8958-8EDD28B417D2}" type="datetimeFigureOut">
              <a:rPr lang="en-US" smtClean="0"/>
              <a:pPr/>
              <a:t>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936822-2815-4A98-B8E1-2BBE0B69F322}" type="slidenum">
              <a:rPr lang="en-US" smtClean="0"/>
              <a:pPr/>
              <a:t>‹#›</a:t>
            </a:fld>
            <a:endParaRPr lang="en-US"/>
          </a:p>
        </p:txBody>
      </p:sp>
    </p:spTree>
    <p:extLst>
      <p:ext uri="{BB962C8B-B14F-4D97-AF65-F5344CB8AC3E}">
        <p14:creationId xmlns:p14="http://schemas.microsoft.com/office/powerpoint/2010/main" val="1832475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4CF14B-2803-492F-8958-8EDD28B417D2}" type="datetimeFigureOut">
              <a:rPr lang="en-US" smtClean="0"/>
              <a:pPr/>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936822-2815-4A98-B8E1-2BBE0B69F322}" type="slidenum">
              <a:rPr lang="en-US" smtClean="0"/>
              <a:pPr/>
              <a:t>‹#›</a:t>
            </a:fld>
            <a:endParaRPr lang="en-US"/>
          </a:p>
        </p:txBody>
      </p:sp>
    </p:spTree>
    <p:extLst>
      <p:ext uri="{BB962C8B-B14F-4D97-AF65-F5344CB8AC3E}">
        <p14:creationId xmlns:p14="http://schemas.microsoft.com/office/powerpoint/2010/main" val="35903139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4CF14B-2803-492F-8958-8EDD28B417D2}" type="datetimeFigureOut">
              <a:rPr lang="en-US" smtClean="0"/>
              <a:pPr/>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936822-2815-4A98-B8E1-2BBE0B69F322}" type="slidenum">
              <a:rPr lang="en-US" smtClean="0"/>
              <a:pPr/>
              <a:t>‹#›</a:t>
            </a:fld>
            <a:endParaRPr lang="en-US"/>
          </a:p>
        </p:txBody>
      </p:sp>
    </p:spTree>
    <p:extLst>
      <p:ext uri="{BB962C8B-B14F-4D97-AF65-F5344CB8AC3E}">
        <p14:creationId xmlns:p14="http://schemas.microsoft.com/office/powerpoint/2010/main" val="12608620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97AC42E-AD4F-4F14-8CC6-2562D0A45690}" type="datetimeFigureOut">
              <a:rPr lang="en-US" smtClean="0"/>
              <a:pPr/>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20273216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8265" y="2478336"/>
            <a:ext cx="5654841" cy="987075"/>
          </a:xfrm>
          <a:prstGeom prst="rect">
            <a:avLst/>
          </a:prstGeom>
        </p:spPr>
      </p:pic>
      <p:sp>
        <p:nvSpPr>
          <p:cNvPr id="4" name="Rectangle 3"/>
          <p:cNvSpPr/>
          <p:nvPr userDrawn="1"/>
        </p:nvSpPr>
        <p:spPr>
          <a:xfrm flipV="1">
            <a:off x="0" y="6536100"/>
            <a:ext cx="12192000" cy="321905"/>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584439"/>
            <a:endParaRPr lang="en-US" sz="1350" dirty="0">
              <a:ln>
                <a:solidFill>
                  <a:srgbClr val="000000"/>
                </a:solidFill>
              </a:ln>
              <a:solidFill>
                <a:srgbClr val="000000"/>
              </a:solidFill>
            </a:endParaRPr>
          </a:p>
        </p:txBody>
      </p:sp>
    </p:spTree>
    <p:extLst>
      <p:ext uri="{BB962C8B-B14F-4D97-AF65-F5344CB8AC3E}">
        <p14:creationId xmlns:p14="http://schemas.microsoft.com/office/powerpoint/2010/main" val="24297099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7AC42E-AD4F-4F14-8CC6-2562D0A45690}" type="datetimeFigureOut">
              <a:rPr lang="en-US" smtClean="0"/>
              <a:pPr/>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7500362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97AC42E-AD4F-4F14-8CC6-2562D0A45690}" type="datetimeFigureOut">
              <a:rPr lang="en-US" smtClean="0"/>
              <a:pPr/>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9894788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97AC42E-AD4F-4F14-8CC6-2562D0A45690}" type="datetimeFigureOut">
              <a:rPr lang="en-US" smtClean="0"/>
              <a:pPr/>
              <a:t>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29327366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97AC42E-AD4F-4F14-8CC6-2562D0A45690}" type="datetimeFigureOut">
              <a:rPr lang="en-US" smtClean="0"/>
              <a:pPr/>
              <a:t>2/2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29092622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97AC42E-AD4F-4F14-8CC6-2562D0A45690}" type="datetimeFigureOut">
              <a:rPr lang="en-US" smtClean="0"/>
              <a:pPr/>
              <a:t>2/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9228762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97AC42E-AD4F-4F14-8CC6-2562D0A45690}" type="datetimeFigureOut">
              <a:rPr lang="en-US" smtClean="0"/>
              <a:pPr/>
              <a:t>2/2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4312979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97AC42E-AD4F-4F14-8CC6-2562D0A45690}" type="datetimeFigureOut">
              <a:rPr lang="en-US" smtClean="0"/>
              <a:pPr/>
              <a:t>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997126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97AC42E-AD4F-4F14-8CC6-2562D0A45690}" type="datetimeFigureOut">
              <a:rPr lang="en-US" smtClean="0"/>
              <a:pPr/>
              <a:t>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1136703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7AC42E-AD4F-4F14-8CC6-2562D0A45690}" type="datetimeFigureOut">
              <a:rPr lang="en-US" smtClean="0"/>
              <a:pPr/>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7024631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7AC42E-AD4F-4F14-8CC6-2562D0A45690}" type="datetimeFigureOut">
              <a:rPr lang="en-US" smtClean="0"/>
              <a:pPr/>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28938204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1"/>
          <p:cNvSpPr/>
          <p:nvPr userDrawn="1"/>
        </p:nvSpPr>
        <p:spPr>
          <a:xfrm flipV="1">
            <a:off x="0" y="6536100"/>
            <a:ext cx="12192000" cy="321905"/>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584439"/>
            <a:endParaRPr lang="en-US" sz="1350" dirty="0">
              <a:ln>
                <a:solidFill>
                  <a:srgbClr val="000000"/>
                </a:solidFill>
              </a:ln>
              <a:solidFill>
                <a:srgbClr val="000000"/>
              </a:solidFill>
            </a:endParaRPr>
          </a:p>
        </p:txBody>
      </p:sp>
      <p:sp>
        <p:nvSpPr>
          <p:cNvPr id="3" name="Text Placeholder 20"/>
          <p:cNvSpPr>
            <a:spLocks noGrp="1"/>
          </p:cNvSpPr>
          <p:nvPr>
            <p:ph type="body" sz="quarter" idx="15" hasCustomPrompt="1"/>
          </p:nvPr>
        </p:nvSpPr>
        <p:spPr>
          <a:xfrm>
            <a:off x="243417" y="4966260"/>
            <a:ext cx="11695427" cy="287257"/>
          </a:xfrm>
          <a:prstGeom prst="rect">
            <a:avLst/>
          </a:prstGeom>
        </p:spPr>
        <p:txBody>
          <a:bodyPr lIns="91440" tIns="45720" rIns="91440" bIns="45720" anchor="ctr">
            <a:noAutofit/>
          </a:bodyPr>
          <a:lstStyle>
            <a:lvl1pPr marL="0" marR="0" indent="0" algn="ctr" defTabSz="685800" rtl="0" eaLnBrk="1" fontAlgn="auto" latinLnBrk="0" hangingPunct="1">
              <a:lnSpc>
                <a:spcPct val="100000"/>
              </a:lnSpc>
              <a:spcBef>
                <a:spcPts val="0"/>
              </a:spcBef>
              <a:spcAft>
                <a:spcPts val="0"/>
              </a:spcAft>
              <a:buClrTx/>
              <a:buSzTx/>
              <a:buFontTx/>
              <a:buNone/>
              <a:tabLst/>
              <a:defRPr sz="1050" b="0"/>
            </a:lvl1pPr>
            <a:lvl2pPr algn="ctr">
              <a:defRPr/>
            </a:lvl2pPr>
            <a:lvl3pPr algn="ctr">
              <a:defRPr/>
            </a:lvl3pPr>
            <a:lvl4pPr algn="ctr">
              <a:defRPr/>
            </a:lvl4pPr>
            <a:lvl5pPr algn="ctr">
              <a:defRPr/>
            </a:lvl5pPr>
          </a:lstStyle>
          <a:p>
            <a:pPr lvl="0"/>
            <a:r>
              <a:rPr lang="en-US" dirty="0"/>
              <a:t>Date (Arial 14pt, Black)</a:t>
            </a:r>
          </a:p>
        </p:txBody>
      </p:sp>
      <p:sp>
        <p:nvSpPr>
          <p:cNvPr id="4" name="Text Placeholder 7"/>
          <p:cNvSpPr>
            <a:spLocks noGrp="1"/>
          </p:cNvSpPr>
          <p:nvPr>
            <p:ph type="body" sz="quarter" idx="16" hasCustomPrompt="1"/>
          </p:nvPr>
        </p:nvSpPr>
        <p:spPr>
          <a:xfrm>
            <a:off x="243417" y="1663071"/>
            <a:ext cx="11695427" cy="1470025"/>
          </a:xfrm>
        </p:spPr>
        <p:txBody>
          <a:bodyPr lIns="91440" tIns="45720" rIns="91440" bIns="45720" anchor="b">
            <a:noAutofit/>
          </a:bodyPr>
          <a:lstStyle>
            <a:lvl1pPr algn="ctr">
              <a:buFontTx/>
              <a:buNone/>
              <a:defRPr sz="2700" b="0">
                <a:latin typeface="Futura-Book" pitchFamily="34" charset="0"/>
              </a:defRPr>
            </a:lvl1pPr>
          </a:lstStyle>
          <a:p>
            <a:pPr lvl="0"/>
            <a:r>
              <a:rPr lang="en-US" dirty="0"/>
              <a:t>Title in Title Case</a:t>
            </a:r>
            <a:br>
              <a:rPr lang="en-US" dirty="0"/>
            </a:br>
            <a:r>
              <a:rPr lang="en-US" dirty="0"/>
              <a:t>(</a:t>
            </a:r>
            <a:r>
              <a:rPr lang="en-US" dirty="0" err="1"/>
              <a:t>Futura</a:t>
            </a:r>
            <a:r>
              <a:rPr lang="en-US" dirty="0"/>
              <a:t> Book 36pt, Black)</a:t>
            </a:r>
          </a:p>
        </p:txBody>
      </p:sp>
      <p:sp>
        <p:nvSpPr>
          <p:cNvPr id="5" name="Text Placeholder 7"/>
          <p:cNvSpPr>
            <a:spLocks noGrp="1"/>
          </p:cNvSpPr>
          <p:nvPr>
            <p:ph type="body" sz="quarter" idx="17" hasCustomPrompt="1"/>
          </p:nvPr>
        </p:nvSpPr>
        <p:spPr>
          <a:xfrm>
            <a:off x="243417" y="3418843"/>
            <a:ext cx="11695427" cy="1354308"/>
          </a:xfrm>
        </p:spPr>
        <p:txBody>
          <a:bodyPr lIns="91440" tIns="45720" rIns="91440" bIns="45720">
            <a:noAutofit/>
          </a:bodyPr>
          <a:lstStyle>
            <a:lvl1pPr marL="0" marR="0" indent="0" algn="ctr" defTabSz="685800" eaLnBrk="1" fontAlgn="auto" latinLnBrk="0" hangingPunct="1">
              <a:lnSpc>
                <a:spcPct val="100000"/>
              </a:lnSpc>
              <a:spcBef>
                <a:spcPts val="0"/>
              </a:spcBef>
              <a:spcAft>
                <a:spcPts val="0"/>
              </a:spcAft>
              <a:buClrTx/>
              <a:buSzTx/>
              <a:buFontTx/>
              <a:buNone/>
              <a:tabLst/>
              <a:defRPr kumimoji="0" lang="en-US" sz="1800" b="0" i="0" u="none" strike="noStrike" kern="0" cap="none" spc="0" normalizeH="0" baseline="0" noProof="0" dirty="0" smtClean="0">
                <a:ln>
                  <a:noFill/>
                </a:ln>
                <a:solidFill>
                  <a:sysClr val="windowText" lastClr="000000">
                    <a:tint val="75000"/>
                  </a:sysClr>
                </a:solidFill>
                <a:effectLst/>
                <a:uLnTx/>
                <a:uFillTx/>
                <a:latin typeface="Arial" pitchFamily="34" charset="0"/>
                <a:ea typeface="+mn-ea"/>
                <a:cs typeface="Arial" pitchFamily="34" charset="0"/>
              </a:defRPr>
            </a:lvl1pPr>
          </a:lstStyle>
          <a:p>
            <a:pPr lvl="0"/>
            <a:r>
              <a:rPr lang="en-US" dirty="0"/>
              <a:t>Subtitle in Title Case (Arial 24pt, Gray)</a:t>
            </a:r>
          </a:p>
        </p:txBody>
      </p:sp>
    </p:spTree>
    <p:extLst>
      <p:ext uri="{BB962C8B-B14F-4D97-AF65-F5344CB8AC3E}">
        <p14:creationId xmlns:p14="http://schemas.microsoft.com/office/powerpoint/2010/main" val="389893707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0634"/>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fld id="{425404F2-BE9A-4460-8815-8F645183555F}" type="datetimeFigureOut">
              <a:rPr lang="en-US" smtClean="0"/>
              <a:pPr/>
              <a:t>2/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5448880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296CB2A-E2D5-4DCA-A379-2E8C867AFF46}"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8165969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6D44760-A078-44F7-A49E-96FBD2EB441C}"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30005173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225EAC1-0E57-4206-906F-F56BCF3722D1}"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234333011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D6A225E-9E17-4314-95EA-EFDC680311DC}" type="datetime1">
              <a:rPr lang="en-US" smtClean="0"/>
              <a:pPr/>
              <a:t>2/22/2023</a:t>
            </a:fld>
            <a:endParaRPr lang="en-US"/>
          </a:p>
        </p:txBody>
      </p:sp>
      <p:sp>
        <p:nvSpPr>
          <p:cNvPr id="6" name="Footer Placeholder 5"/>
          <p:cNvSpPr>
            <a:spLocks noGrp="1"/>
          </p:cNvSpPr>
          <p:nvPr>
            <p:ph type="ftr" sz="quarter" idx="11"/>
          </p:nvPr>
        </p:nvSpPr>
        <p:spPr/>
        <p:txBody>
          <a:bodyPr/>
          <a:lstStyle/>
          <a:p>
            <a:r>
              <a:rPr lang="en-US"/>
              <a:t>Textile Fusion Limited </a:t>
            </a:r>
          </a:p>
        </p:txBody>
      </p:sp>
      <p:sp>
        <p:nvSpPr>
          <p:cNvPr id="7" name="Slide Number Placeholder 6"/>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420042819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7A5D8C1-11A0-4031-87DC-2EEBE9B54EF4}" type="datetime1">
              <a:rPr lang="en-US" smtClean="0"/>
              <a:pPr/>
              <a:t>2/22/2023</a:t>
            </a:fld>
            <a:endParaRPr lang="en-US"/>
          </a:p>
        </p:txBody>
      </p:sp>
      <p:sp>
        <p:nvSpPr>
          <p:cNvPr id="8" name="Footer Placeholder 7"/>
          <p:cNvSpPr>
            <a:spLocks noGrp="1"/>
          </p:cNvSpPr>
          <p:nvPr>
            <p:ph type="ftr" sz="quarter" idx="11"/>
          </p:nvPr>
        </p:nvSpPr>
        <p:spPr/>
        <p:txBody>
          <a:bodyPr/>
          <a:lstStyle/>
          <a:p>
            <a:r>
              <a:rPr lang="en-US"/>
              <a:t>Textile Fusion Limited </a:t>
            </a:r>
          </a:p>
        </p:txBody>
      </p:sp>
      <p:sp>
        <p:nvSpPr>
          <p:cNvPr id="9" name="Slide Number Placeholder 8"/>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32864078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FB325B1-3BA7-4873-9753-D603318129E1}" type="datetime1">
              <a:rPr lang="en-US" smtClean="0"/>
              <a:pPr/>
              <a:t>2/22/2023</a:t>
            </a:fld>
            <a:endParaRPr lang="en-US"/>
          </a:p>
        </p:txBody>
      </p:sp>
      <p:sp>
        <p:nvSpPr>
          <p:cNvPr id="4" name="Footer Placeholder 3"/>
          <p:cNvSpPr>
            <a:spLocks noGrp="1"/>
          </p:cNvSpPr>
          <p:nvPr>
            <p:ph type="ftr" sz="quarter" idx="11"/>
          </p:nvPr>
        </p:nvSpPr>
        <p:spPr/>
        <p:txBody>
          <a:bodyPr/>
          <a:lstStyle/>
          <a:p>
            <a:r>
              <a:rPr lang="en-US"/>
              <a:t>Textile Fusion Limited </a:t>
            </a:r>
          </a:p>
        </p:txBody>
      </p:sp>
      <p:sp>
        <p:nvSpPr>
          <p:cNvPr id="5" name="Slide Number Placeholder 4"/>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35779751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042EA0-B3B4-4657-A878-9F01ACF79F46}" type="datetime1">
              <a:rPr lang="en-US" smtClean="0"/>
              <a:pPr/>
              <a:t>2/22/2023</a:t>
            </a:fld>
            <a:endParaRPr lang="en-US"/>
          </a:p>
        </p:txBody>
      </p:sp>
      <p:sp>
        <p:nvSpPr>
          <p:cNvPr id="3" name="Footer Placeholder 2"/>
          <p:cNvSpPr>
            <a:spLocks noGrp="1"/>
          </p:cNvSpPr>
          <p:nvPr>
            <p:ph type="ftr" sz="quarter" idx="11"/>
          </p:nvPr>
        </p:nvSpPr>
        <p:spPr/>
        <p:txBody>
          <a:bodyPr/>
          <a:lstStyle/>
          <a:p>
            <a:r>
              <a:rPr lang="en-US"/>
              <a:t>Textile Fusion Limited </a:t>
            </a:r>
          </a:p>
        </p:txBody>
      </p:sp>
      <p:sp>
        <p:nvSpPr>
          <p:cNvPr id="4" name="Slide Number Placeholder 3"/>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180385838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ECED5DD-ADF7-43FD-A683-6839889A46B9}" type="datetime1">
              <a:rPr lang="en-US" smtClean="0"/>
              <a:pPr/>
              <a:t>2/22/2023</a:t>
            </a:fld>
            <a:endParaRPr lang="en-US"/>
          </a:p>
        </p:txBody>
      </p:sp>
      <p:sp>
        <p:nvSpPr>
          <p:cNvPr id="6" name="Footer Placeholder 5"/>
          <p:cNvSpPr>
            <a:spLocks noGrp="1"/>
          </p:cNvSpPr>
          <p:nvPr>
            <p:ph type="ftr" sz="quarter" idx="11"/>
          </p:nvPr>
        </p:nvSpPr>
        <p:spPr/>
        <p:txBody>
          <a:bodyPr/>
          <a:lstStyle/>
          <a:p>
            <a:r>
              <a:rPr lang="en-US"/>
              <a:t>Textile Fusion Limited </a:t>
            </a:r>
          </a:p>
        </p:txBody>
      </p:sp>
      <p:sp>
        <p:nvSpPr>
          <p:cNvPr id="7" name="Slide Number Placeholder 6"/>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31239197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E288352-9826-44F9-8871-56532CF5A131}" type="datetime1">
              <a:rPr lang="en-US" smtClean="0"/>
              <a:pPr/>
              <a:t>2/22/2023</a:t>
            </a:fld>
            <a:endParaRPr lang="en-US"/>
          </a:p>
        </p:txBody>
      </p:sp>
      <p:sp>
        <p:nvSpPr>
          <p:cNvPr id="6" name="Footer Placeholder 5"/>
          <p:cNvSpPr>
            <a:spLocks noGrp="1"/>
          </p:cNvSpPr>
          <p:nvPr>
            <p:ph type="ftr" sz="quarter" idx="11"/>
          </p:nvPr>
        </p:nvSpPr>
        <p:spPr/>
        <p:txBody>
          <a:bodyPr/>
          <a:lstStyle/>
          <a:p>
            <a:r>
              <a:rPr lang="en-US"/>
              <a:t>Textile Fusion Limited </a:t>
            </a:r>
          </a:p>
        </p:txBody>
      </p:sp>
      <p:sp>
        <p:nvSpPr>
          <p:cNvPr id="7" name="Slide Number Placeholder 6"/>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29628265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562707" y="1508760"/>
            <a:ext cx="11074088" cy="4590288"/>
          </a:xfrm>
        </p:spPr>
        <p:txBody>
          <a:bodyPr lIns="0" tIns="0" rIns="0" bIns="0"/>
          <a:lstStyle>
            <a:lvl1pPr>
              <a:spcBef>
                <a:spcPts val="245"/>
              </a:spcBef>
              <a:defRPr/>
            </a:lvl1pPr>
            <a:lvl2pPr marL="292220" indent="-147260">
              <a:spcBef>
                <a:spcPts val="245"/>
              </a:spcBef>
              <a:defRPr/>
            </a:lvl2pPr>
            <a:lvl3pPr marL="584439" indent="-147260">
              <a:spcBef>
                <a:spcPts val="245"/>
              </a:spcBef>
              <a:defRPr/>
            </a:lvl3pPr>
            <a:lvl4pPr marL="878959" indent="-149561">
              <a:spcBef>
                <a:spcPts val="245"/>
              </a:spcBef>
              <a:defRPr/>
            </a:lvl4pPr>
            <a:lvl5pPr marL="1316138" indent="-147260">
              <a:spcBef>
                <a:spcPts val="24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4"/>
          </p:nvPr>
        </p:nvSpPr>
        <p:spPr>
          <a:xfrm>
            <a:off x="563035" y="762004"/>
            <a:ext cx="11068061" cy="404761"/>
          </a:xfrm>
          <a:prstGeom prst="rect">
            <a:avLst/>
          </a:prstGeom>
        </p:spPr>
        <p:txBody>
          <a:bodyPr lIns="0" anchor="ctr">
            <a:noAutofit/>
          </a:bodyPr>
          <a:lstStyle>
            <a:lvl1pPr>
              <a:buFontTx/>
              <a:buNone/>
              <a:defRPr sz="1200" b="1">
                <a:solidFill>
                  <a:srgbClr val="7F7F7F"/>
                </a:solidFill>
              </a:defRPr>
            </a:lvl1pPr>
          </a:lstStyle>
          <a:p>
            <a:pPr lvl="0"/>
            <a:r>
              <a:rPr lang="en-US" dirty="0"/>
              <a:t>Click to edit Master text styles</a:t>
            </a:r>
          </a:p>
        </p:txBody>
      </p:sp>
    </p:spTree>
    <p:extLst>
      <p:ext uri="{BB962C8B-B14F-4D97-AF65-F5344CB8AC3E}">
        <p14:creationId xmlns:p14="http://schemas.microsoft.com/office/powerpoint/2010/main" val="34784211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296C1FB-62AB-488E-9C58-C01C76B031F1}"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327432123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14754A6-BAE1-4397-A6CC-06BA42A4A82D}" type="datetime1">
              <a:rPr lang="en-US" smtClean="0"/>
              <a:pPr/>
              <a:t>2/22/2023</a:t>
            </a:fld>
            <a:endParaRPr lang="en-US"/>
          </a:p>
        </p:txBody>
      </p:sp>
      <p:sp>
        <p:nvSpPr>
          <p:cNvPr id="5" name="Footer Placeholder 4"/>
          <p:cNvSpPr>
            <a:spLocks noGrp="1"/>
          </p:cNvSpPr>
          <p:nvPr>
            <p:ph type="ftr" sz="quarter" idx="11"/>
          </p:nvPr>
        </p:nvSpPr>
        <p:spPr/>
        <p:txBody>
          <a:bodyPr/>
          <a:lstStyle/>
          <a:p>
            <a:r>
              <a:rPr lang="en-US"/>
              <a:t>Textile Fusion Limited </a:t>
            </a:r>
          </a:p>
        </p:txBody>
      </p:sp>
      <p:sp>
        <p:nvSpPr>
          <p:cNvPr id="6" name="Slide Number Placeholder 5"/>
          <p:cNvSpPr>
            <a:spLocks noGrp="1"/>
          </p:cNvSpPr>
          <p:nvPr>
            <p:ph type="sldNum" sz="quarter" idx="12"/>
          </p:nvPr>
        </p:nvSpPr>
        <p:spPr/>
        <p:txBody>
          <a:bodyPr/>
          <a:lstStyle/>
          <a:p>
            <a:fld id="{6E290225-7458-4E5F-AFE5-E142CAAEBF37}" type="slidenum">
              <a:rPr lang="en-US" smtClean="0"/>
              <a:pPr/>
              <a:t>‹#›</a:t>
            </a:fld>
            <a:endParaRPr lang="en-US"/>
          </a:p>
        </p:txBody>
      </p:sp>
    </p:spTree>
    <p:extLst>
      <p:ext uri="{BB962C8B-B14F-4D97-AF65-F5344CB8AC3E}">
        <p14:creationId xmlns:p14="http://schemas.microsoft.com/office/powerpoint/2010/main" val="36227977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7.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oleObject" Target="../embeddings/oleObject1.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ags" Target="../tags/tag1.xml"/><Relationship Id="rId5" Type="http://schemas.openxmlformats.org/officeDocument/2006/relationships/slideLayout" Target="../slideLayouts/slideLayout11.xml"/><Relationship Id="rId10" Type="http://schemas.openxmlformats.org/officeDocument/2006/relationships/vmlDrawing" Target="../drawings/vmlDrawing1.vml"/><Relationship Id="rId4" Type="http://schemas.openxmlformats.org/officeDocument/2006/relationships/slideLayout" Target="../slideLayouts/slideLayout10.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 Type="http://schemas.openxmlformats.org/officeDocument/2006/relationships/slideLayout" Target="../slideLayouts/slideLayout17.xml"/><Relationship Id="rId21" Type="http://schemas.openxmlformats.org/officeDocument/2006/relationships/tags" Target="../tags/tag10.xml"/><Relationship Id="rId7" Type="http://schemas.openxmlformats.org/officeDocument/2006/relationships/slideLayout" Target="../slideLayouts/slideLayout21.xml"/><Relationship Id="rId12" Type="http://schemas.openxmlformats.org/officeDocument/2006/relationships/vmlDrawing" Target="../drawings/vmlDrawing2.vml"/><Relationship Id="rId17" Type="http://schemas.openxmlformats.org/officeDocument/2006/relationships/tags" Target="../tags/tag6.xml"/><Relationship Id="rId25" Type="http://schemas.openxmlformats.org/officeDocument/2006/relationships/tags" Target="../tags/tag14.xml"/><Relationship Id="rId2" Type="http://schemas.openxmlformats.org/officeDocument/2006/relationships/slideLayout" Target="../slideLayouts/slideLayout16.xml"/><Relationship Id="rId16" Type="http://schemas.openxmlformats.org/officeDocument/2006/relationships/tags" Target="../tags/tag5.xml"/><Relationship Id="rId20" Type="http://schemas.openxmlformats.org/officeDocument/2006/relationships/tags" Target="../tags/tag9.xml"/><Relationship Id="rId29" Type="http://schemas.openxmlformats.org/officeDocument/2006/relationships/tags" Target="../tags/tag18.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heme" Target="../theme/theme3.xml"/><Relationship Id="rId24" Type="http://schemas.openxmlformats.org/officeDocument/2006/relationships/tags" Target="../tags/tag13.xml"/><Relationship Id="rId32" Type="http://schemas.openxmlformats.org/officeDocument/2006/relationships/image" Target="../media/image9.emf"/><Relationship Id="rId5" Type="http://schemas.openxmlformats.org/officeDocument/2006/relationships/slideLayout" Target="../slideLayouts/slideLayout19.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10" Type="http://schemas.openxmlformats.org/officeDocument/2006/relationships/slideLayout" Target="../slideLayouts/slideLayout24.xml"/><Relationship Id="rId19" Type="http://schemas.openxmlformats.org/officeDocument/2006/relationships/tags" Target="../tags/tag8.xml"/><Relationship Id="rId31" Type="http://schemas.openxmlformats.org/officeDocument/2006/relationships/oleObject" Target="../embeddings/oleObject2.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tags" Target="../tags/tag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4.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6.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heme" Target="../theme/theme7.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8.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609600" y="19026"/>
            <a:ext cx="10972800" cy="796908"/>
          </a:xfrm>
          <a:prstGeom prst="rect">
            <a:avLst/>
          </a:prstGeom>
        </p:spPr>
        <p:txBody>
          <a:bodyPr vert="horz" lIns="91440" tIns="45720" rIns="91440" bIns="45720" rtlCol="0" anchor="ctr">
            <a:normAutofit/>
          </a:bodyPr>
          <a:lstStyle/>
          <a:p>
            <a:r>
              <a:rPr lang="ko-KR" altLang="en-US" dirty="0"/>
              <a:t>마스터 제목 스타일 편집</a:t>
            </a:r>
          </a:p>
        </p:txBody>
      </p:sp>
      <p:sp>
        <p:nvSpPr>
          <p:cNvPr id="3" name="텍스트 개체 틀 2"/>
          <p:cNvSpPr>
            <a:spLocks noGrp="1"/>
          </p:cNvSpPr>
          <p:nvPr>
            <p:ph type="body" idx="1"/>
          </p:nvPr>
        </p:nvSpPr>
        <p:spPr>
          <a:xfrm>
            <a:off x="609600" y="1062021"/>
            <a:ext cx="10972800" cy="5286412"/>
          </a:xfrm>
          <a:prstGeom prst="rect">
            <a:avLst/>
          </a:prstGeom>
        </p:spPr>
        <p:txBody>
          <a:bodyPr vert="horz" lIns="91440" tIns="45720" rIns="91440" bIns="45720" rtlCol="0">
            <a:normAutofit/>
          </a:bodyPr>
          <a:lstStyle/>
          <a:p>
            <a:pPr lvl="0"/>
            <a:r>
              <a:rPr lang="ko-KR" altLang="en-US" dirty="0"/>
              <a:t>마스터 텍스트 스타일을 편집합니다</a:t>
            </a:r>
          </a:p>
          <a:p>
            <a:pPr lvl="1"/>
            <a:r>
              <a:rPr lang="ko-KR" altLang="en-US" dirty="0"/>
              <a:t>둘째 수준</a:t>
            </a:r>
          </a:p>
          <a:p>
            <a:pPr lvl="2"/>
            <a:r>
              <a:rPr lang="ko-KR" altLang="en-US" dirty="0"/>
              <a:t>셋째 수준</a:t>
            </a:r>
          </a:p>
          <a:p>
            <a:pPr lvl="3"/>
            <a:r>
              <a:rPr lang="ko-KR" altLang="en-US" dirty="0"/>
              <a:t>넷째 수준</a:t>
            </a:r>
          </a:p>
          <a:p>
            <a:pPr lvl="4"/>
            <a:r>
              <a:rPr lang="ko-KR" altLang="en-US" dirty="0"/>
              <a:t>다섯째 수준</a:t>
            </a:r>
          </a:p>
        </p:txBody>
      </p:sp>
      <p:sp>
        <p:nvSpPr>
          <p:cNvPr id="4" name="날짜 개체 틀 3"/>
          <p:cNvSpPr>
            <a:spLocks noGrp="1"/>
          </p:cNvSpPr>
          <p:nvPr>
            <p:ph type="dt" sz="half" idx="2"/>
          </p:nvPr>
        </p:nvSpPr>
        <p:spPr>
          <a:xfrm>
            <a:off x="609600" y="6429399"/>
            <a:ext cx="2844800" cy="292079"/>
          </a:xfrm>
          <a:prstGeom prst="rect">
            <a:avLst/>
          </a:prstGeom>
        </p:spPr>
        <p:txBody>
          <a:bodyPr vert="horz" lIns="91440" tIns="45720" rIns="91440" bIns="45720" rtlCol="0" anchor="ctr"/>
          <a:lstStyle>
            <a:lvl1pPr algn="l">
              <a:defRPr sz="900">
                <a:solidFill>
                  <a:schemeClr val="tx1">
                    <a:tint val="75000"/>
                  </a:schemeClr>
                </a:solidFill>
              </a:defRPr>
            </a:lvl1pPr>
          </a:lstStyle>
          <a:p>
            <a:fld id="{659BB8FC-1371-4FEA-8122-C53056DD0F90}" type="datetime1">
              <a:rPr lang="en-US" altLang="ko-KR" smtClean="0"/>
              <a:pPr/>
              <a:t>2/22/2023</a:t>
            </a:fld>
            <a:endParaRPr lang="ko-KR" altLang="en-US"/>
          </a:p>
        </p:txBody>
      </p:sp>
      <p:sp>
        <p:nvSpPr>
          <p:cNvPr id="5" name="바닥글 개체 틀 4"/>
          <p:cNvSpPr>
            <a:spLocks noGrp="1"/>
          </p:cNvSpPr>
          <p:nvPr>
            <p:ph type="ftr" sz="quarter" idx="3"/>
          </p:nvPr>
        </p:nvSpPr>
        <p:spPr>
          <a:xfrm>
            <a:off x="4165600" y="6429399"/>
            <a:ext cx="3860800" cy="292079"/>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ltLang="ko-KR"/>
              <a:t>Textile Fusion Limited </a:t>
            </a:r>
            <a:endParaRPr lang="ko-KR" altLang="en-US"/>
          </a:p>
        </p:txBody>
      </p:sp>
      <p:sp>
        <p:nvSpPr>
          <p:cNvPr id="6" name="슬라이드 번호 개체 틀 5"/>
          <p:cNvSpPr>
            <a:spLocks noGrp="1"/>
          </p:cNvSpPr>
          <p:nvPr>
            <p:ph type="sldNum" sz="quarter" idx="4"/>
          </p:nvPr>
        </p:nvSpPr>
        <p:spPr>
          <a:xfrm>
            <a:off x="8737600" y="6429399"/>
            <a:ext cx="2844800" cy="292079"/>
          </a:xfrm>
          <a:prstGeom prst="rect">
            <a:avLst/>
          </a:prstGeom>
        </p:spPr>
        <p:txBody>
          <a:bodyPr vert="horz" lIns="91440" tIns="45720" rIns="91440" bIns="45720" rtlCol="0" anchor="ctr"/>
          <a:lstStyle>
            <a:lvl1pPr algn="r">
              <a:defRPr sz="900">
                <a:solidFill>
                  <a:schemeClr val="tx1">
                    <a:tint val="75000"/>
                  </a:schemeClr>
                </a:solidFill>
              </a:defRPr>
            </a:lvl1pPr>
          </a:lstStyle>
          <a:p>
            <a:fld id="{EE6BC638-39B7-4287-91A7-2A3DDA573295}" type="slidenum">
              <a:rPr lang="ko-KR" altLang="en-US" smtClean="0"/>
              <a:pPr/>
              <a:t>‹#›</a:t>
            </a:fld>
            <a:endParaRPr lang="ko-KR" altLang="en-US"/>
          </a:p>
        </p:txBody>
      </p:sp>
    </p:spTree>
  </p:cSld>
  <p:clrMap bg1="lt1" tx1="dk1" bg2="lt2" tx2="dk2" accent1="accent1" accent2="accent2" accent3="accent3" accent4="accent4" accent5="accent5" accent6="accent6" hlink="hlink" folHlink="folHlink"/>
  <p:sldLayoutIdLst>
    <p:sldLayoutId id="2147483649" r:id="rId1"/>
    <p:sldLayoutId id="2147483655" r:id="rId2"/>
    <p:sldLayoutId id="2147483651" r:id="rId3"/>
    <p:sldLayoutId id="2147483656" r:id="rId4"/>
    <p:sldLayoutId id="2147483650" r:id="rId5"/>
    <p:sldLayoutId id="2147483657" r:id="rId6"/>
  </p:sldLayoutIdLst>
  <p:hf sldNum="0" hdr="0" dt="0"/>
  <p:txStyles>
    <p:titleStyle>
      <a:lvl1pPr algn="l" defTabSz="685800" rtl="0" eaLnBrk="1" latinLnBrk="1" hangingPunct="1">
        <a:spcBef>
          <a:spcPct val="0"/>
        </a:spcBef>
        <a:buNone/>
        <a:defRPr lang="ko-KR" altLang="en-US" sz="2625" kern="1200">
          <a:solidFill>
            <a:sysClr val="windowText" lastClr="000000"/>
          </a:solidFill>
          <a:latin typeface="맑은 고딕" pitchFamily="50" charset="-127"/>
          <a:ea typeface="맑은 고딕" pitchFamily="50" charset="-127"/>
          <a:cs typeface="+mj-cs"/>
        </a:defRPr>
      </a:lvl1pPr>
    </p:titleStyle>
    <p:bodyStyle>
      <a:lvl1pPr marL="257175" indent="-257175" algn="l" defTabSz="685800" rtl="0" eaLnBrk="1" latinLnBrk="1" hangingPunct="1">
        <a:spcBef>
          <a:spcPct val="20000"/>
        </a:spcBef>
        <a:buFont typeface="Arial" pitchFamily="34" charset="0"/>
        <a:buChar char="•"/>
        <a:defRPr lang="ko-KR" altLang="en-US" sz="1875" kern="1200" smtClean="0">
          <a:solidFill>
            <a:schemeClr val="tx1"/>
          </a:solidFill>
          <a:latin typeface="맑은 고딕" pitchFamily="50" charset="-127"/>
          <a:ea typeface="맑은 고딕" pitchFamily="50" charset="-127"/>
          <a:cs typeface="+mn-cs"/>
        </a:defRPr>
      </a:lvl1pPr>
      <a:lvl2pPr marL="557213" indent="-214313" algn="l" defTabSz="685800" rtl="0" eaLnBrk="1" latinLnBrk="1" hangingPunct="1">
        <a:spcBef>
          <a:spcPct val="20000"/>
        </a:spcBef>
        <a:buFont typeface="Arial" pitchFamily="34" charset="0"/>
        <a:buChar char="–"/>
        <a:defRPr lang="ko-KR" altLang="en-US" sz="1350" kern="1200" smtClean="0">
          <a:solidFill>
            <a:schemeClr val="tx1"/>
          </a:solidFill>
          <a:latin typeface="맑은 고딕" pitchFamily="50" charset="-127"/>
          <a:ea typeface="맑은 고딕" pitchFamily="50" charset="-127"/>
          <a:cs typeface="+mn-cs"/>
        </a:defRPr>
      </a:lvl2pPr>
      <a:lvl3pPr marL="857250" indent="-171450" algn="l" defTabSz="685800" rtl="0" eaLnBrk="1" latinLnBrk="1" hangingPunct="1">
        <a:spcBef>
          <a:spcPct val="20000"/>
        </a:spcBef>
        <a:buFont typeface="Arial" pitchFamily="34" charset="0"/>
        <a:buChar char="•"/>
        <a:defRPr lang="ko-KR" altLang="en-US" sz="1350" kern="1200" smtClean="0">
          <a:solidFill>
            <a:schemeClr val="tx1"/>
          </a:solidFill>
          <a:latin typeface="맑은 고딕" pitchFamily="50" charset="-127"/>
          <a:ea typeface="맑은 고딕" pitchFamily="50" charset="-127"/>
          <a:cs typeface="+mn-cs"/>
        </a:defRPr>
      </a:lvl3pPr>
      <a:lvl4pPr marL="1200150" indent="-171450" algn="l" defTabSz="685800" rtl="0" eaLnBrk="1" latinLnBrk="1" hangingPunct="1">
        <a:spcBef>
          <a:spcPct val="20000"/>
        </a:spcBef>
        <a:buFont typeface="Arial" pitchFamily="34" charset="0"/>
        <a:buChar char="–"/>
        <a:defRPr lang="ko-KR" altLang="en-US" sz="1350" kern="1200" smtClean="0">
          <a:solidFill>
            <a:schemeClr val="tx1"/>
          </a:solidFill>
          <a:latin typeface="맑은 고딕" pitchFamily="50" charset="-127"/>
          <a:ea typeface="맑은 고딕" pitchFamily="50" charset="-127"/>
          <a:cs typeface="+mn-cs"/>
        </a:defRPr>
      </a:lvl4pPr>
      <a:lvl5pPr marL="1543050" indent="-171450" algn="l" defTabSz="685800" rtl="0" eaLnBrk="1" latinLnBrk="1" hangingPunct="1">
        <a:spcBef>
          <a:spcPct val="20000"/>
        </a:spcBef>
        <a:buFont typeface="Arial" pitchFamily="34" charset="0"/>
        <a:buChar char="»"/>
        <a:defRPr lang="ko-KR" altLang="en-US" sz="1350" kern="1200">
          <a:solidFill>
            <a:schemeClr val="tx1"/>
          </a:solidFill>
          <a:latin typeface="맑은 고딕" pitchFamily="50" charset="-127"/>
          <a:ea typeface="맑은 고딕" pitchFamily="50" charset="-127"/>
          <a:cs typeface="+mn-cs"/>
        </a:defRPr>
      </a:lvl5pPr>
      <a:lvl6pPr marL="1885950" indent="-171450" algn="l" defTabSz="685800" rtl="0" eaLnBrk="1" latinLnBrk="1"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1"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1"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1"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ko-KR"/>
      </a:defPPr>
      <a:lvl1pPr marL="0" algn="l" defTabSz="685800" rtl="0" eaLnBrk="1" latinLnBrk="1" hangingPunct="1">
        <a:defRPr sz="1350" kern="1200">
          <a:solidFill>
            <a:schemeClr val="tx1"/>
          </a:solidFill>
          <a:latin typeface="+mn-lt"/>
          <a:ea typeface="+mn-ea"/>
          <a:cs typeface="+mn-cs"/>
        </a:defRPr>
      </a:lvl1pPr>
      <a:lvl2pPr marL="342900" algn="l" defTabSz="685800" rtl="0" eaLnBrk="1" latinLnBrk="1" hangingPunct="1">
        <a:defRPr sz="1350" kern="1200">
          <a:solidFill>
            <a:schemeClr val="tx1"/>
          </a:solidFill>
          <a:latin typeface="+mn-lt"/>
          <a:ea typeface="+mn-ea"/>
          <a:cs typeface="+mn-cs"/>
        </a:defRPr>
      </a:lvl2pPr>
      <a:lvl3pPr marL="685800" algn="l" defTabSz="685800" rtl="0" eaLnBrk="1" latinLnBrk="1" hangingPunct="1">
        <a:defRPr sz="1350" kern="1200">
          <a:solidFill>
            <a:schemeClr val="tx1"/>
          </a:solidFill>
          <a:latin typeface="+mn-lt"/>
          <a:ea typeface="+mn-ea"/>
          <a:cs typeface="+mn-cs"/>
        </a:defRPr>
      </a:lvl3pPr>
      <a:lvl4pPr marL="1028700" algn="l" defTabSz="685800" rtl="0" eaLnBrk="1" latinLnBrk="1" hangingPunct="1">
        <a:defRPr sz="1350" kern="1200">
          <a:solidFill>
            <a:schemeClr val="tx1"/>
          </a:solidFill>
          <a:latin typeface="+mn-lt"/>
          <a:ea typeface="+mn-ea"/>
          <a:cs typeface="+mn-cs"/>
        </a:defRPr>
      </a:lvl4pPr>
      <a:lvl5pPr marL="1371600" algn="l" defTabSz="685800" rtl="0" eaLnBrk="1" latinLnBrk="1" hangingPunct="1">
        <a:defRPr sz="1350" kern="1200">
          <a:solidFill>
            <a:schemeClr val="tx1"/>
          </a:solidFill>
          <a:latin typeface="+mn-lt"/>
          <a:ea typeface="+mn-ea"/>
          <a:cs typeface="+mn-cs"/>
        </a:defRPr>
      </a:lvl5pPr>
      <a:lvl6pPr marL="1714500" algn="l" defTabSz="685800" rtl="0" eaLnBrk="1" latinLnBrk="1" hangingPunct="1">
        <a:defRPr sz="1350" kern="1200">
          <a:solidFill>
            <a:schemeClr val="tx1"/>
          </a:solidFill>
          <a:latin typeface="+mn-lt"/>
          <a:ea typeface="+mn-ea"/>
          <a:cs typeface="+mn-cs"/>
        </a:defRPr>
      </a:lvl6pPr>
      <a:lvl7pPr marL="2057400" algn="l" defTabSz="685800" rtl="0" eaLnBrk="1" latinLnBrk="1" hangingPunct="1">
        <a:defRPr sz="1350" kern="1200">
          <a:solidFill>
            <a:schemeClr val="tx1"/>
          </a:solidFill>
          <a:latin typeface="+mn-lt"/>
          <a:ea typeface="+mn-ea"/>
          <a:cs typeface="+mn-cs"/>
        </a:defRPr>
      </a:lvl7pPr>
      <a:lvl8pPr marL="2400300" algn="l" defTabSz="685800" rtl="0" eaLnBrk="1" latinLnBrk="1" hangingPunct="1">
        <a:defRPr sz="1350" kern="1200">
          <a:solidFill>
            <a:schemeClr val="tx1"/>
          </a:solidFill>
          <a:latin typeface="+mn-lt"/>
          <a:ea typeface="+mn-ea"/>
          <a:cs typeface="+mn-cs"/>
        </a:defRPr>
      </a:lvl8pPr>
      <a:lvl9pPr marL="2743200" algn="l" defTabSz="685800" rtl="0" eaLnBrk="1" latinLnBrk="1"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1"/>
            </p:custDataLst>
          </p:nvPr>
        </p:nvGraphicFramePr>
        <p:xfrm>
          <a:off x="2122" y="2119"/>
          <a:ext cx="2116" cy="2116"/>
        </p:xfrm>
        <a:graphic>
          <a:graphicData uri="http://schemas.openxmlformats.org/presentationml/2006/ole">
            <mc:AlternateContent xmlns:mc="http://schemas.openxmlformats.org/markup-compatibility/2006">
              <mc:Choice xmlns:v="urn:schemas-microsoft-com:vml" Requires="v">
                <p:oleObj spid="_x0000_s10333" name="think-cell Slide" r:id="rId12" imgW="360" imgH="360" progId="">
                  <p:embed/>
                </p:oleObj>
              </mc:Choice>
              <mc:Fallback>
                <p:oleObj name="think-cell Slide" r:id="rId12" imgW="360" imgH="360" progId="">
                  <p:embed/>
                  <p:pic>
                    <p:nvPicPr>
                      <p:cNvPr id="0" name="Picture 4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22"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597408"/>
          </a:xfrm>
          <a:prstGeom prst="rect">
            <a:avLst/>
          </a:prstGeom>
        </p:spPr>
        <p:txBody>
          <a:bodyPr vert="horz" lIns="0" tIns="18288" rIns="0" bIns="18288" rtlCol="0" anchor="ctr"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459028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162560" y="6659287"/>
            <a:ext cx="234461" cy="127000"/>
          </a:xfrm>
          <a:prstGeom prst="rect">
            <a:avLst/>
          </a:prstGeom>
          <a:noFill/>
          <a:ln/>
          <a:effectLst/>
        </p:spPr>
        <p:txBody>
          <a:bodyPr wrap="none" lIns="0" tIns="0" rIns="0" bIns="0" rtlCol="0">
            <a:noAutofit/>
          </a:bodyPr>
          <a:lstStyle/>
          <a:p>
            <a:pPr marL="0" marR="0" lvl="0" indent="0" algn="r" defTabSz="584372" rtl="0" eaLnBrk="1" fontAlgn="auto" latinLnBrk="0" hangingPunct="1">
              <a:lnSpc>
                <a:spcPct val="100000"/>
              </a:lnSpc>
              <a:spcBef>
                <a:spcPts val="0"/>
              </a:spcBef>
              <a:spcAft>
                <a:spcPts val="0"/>
              </a:spcAft>
              <a:buClrTx/>
              <a:buSzTx/>
              <a:buFontTx/>
              <a:buNone/>
              <a:tabLst/>
              <a:defRPr/>
            </a:pPr>
            <a:fld id="{9D53E389-1311-4796-9190-1F74A8EADEA2}" type="slidenum">
              <a:rPr kumimoji="0" lang="en-US" sz="6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584372"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FFFFFF"/>
              </a:solidFill>
              <a:effectLst/>
              <a:uLnTx/>
              <a:uFillTx/>
              <a:latin typeface="+mn-lt"/>
              <a:ea typeface="+mn-ea"/>
              <a:cs typeface="+mn-cs"/>
            </a:endParaRPr>
          </a:p>
          <a:p>
            <a:endParaRPr lang="en-US" sz="600" dirty="0">
              <a:solidFill>
                <a:srgbClr val="FFFFFF"/>
              </a:solidFill>
              <a:latin typeface="Arial"/>
            </a:endParaRPr>
          </a:p>
        </p:txBody>
      </p:sp>
      <p:sp>
        <p:nvSpPr>
          <p:cNvPr id="8" name="Rectangle 7"/>
          <p:cNvSpPr/>
          <p:nvPr userDrawn="1"/>
        </p:nvSpPr>
        <p:spPr>
          <a:xfrm flipV="1">
            <a:off x="0" y="6536099"/>
            <a:ext cx="12192000" cy="321905"/>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584439"/>
            <a:endParaRPr lang="en-US" sz="1350" dirty="0">
              <a:ln>
                <a:solidFill>
                  <a:srgbClr val="000000"/>
                </a:solidFill>
              </a:ln>
              <a:solidFill>
                <a:srgbClr val="000000"/>
              </a:solidFill>
            </a:endParaRPr>
          </a:p>
        </p:txBody>
      </p:sp>
      <p:sp>
        <p:nvSpPr>
          <p:cNvPr id="10" name="TextBox 9"/>
          <p:cNvSpPr txBox="1"/>
          <p:nvPr userDrawn="1"/>
        </p:nvSpPr>
        <p:spPr>
          <a:xfrm>
            <a:off x="162560" y="6616953"/>
            <a:ext cx="234461" cy="127000"/>
          </a:xfrm>
          <a:prstGeom prst="rect">
            <a:avLst/>
          </a:prstGeom>
          <a:noFill/>
          <a:ln/>
          <a:effectLst/>
        </p:spPr>
        <p:txBody>
          <a:bodyPr wrap="none" lIns="0" tIns="0" rIns="0" bIns="0" rtlCol="0">
            <a:noAutofit/>
          </a:bodyPr>
          <a:lstStyle/>
          <a:p>
            <a:pPr marL="0" marR="0" lvl="0" indent="0" algn="r" defTabSz="584372" rtl="0" eaLnBrk="1" fontAlgn="auto" latinLnBrk="0" hangingPunct="1">
              <a:lnSpc>
                <a:spcPct val="100000"/>
              </a:lnSpc>
              <a:spcBef>
                <a:spcPts val="0"/>
              </a:spcBef>
              <a:spcAft>
                <a:spcPts val="0"/>
              </a:spcAft>
              <a:buClrTx/>
              <a:buSzTx/>
              <a:buFontTx/>
              <a:buNone/>
              <a:tabLst/>
              <a:defRPr/>
            </a:pPr>
            <a:fld id="{9D53E389-1311-4796-9190-1F74A8EADEA2}" type="slidenum">
              <a:rPr kumimoji="0" lang="en-US" sz="6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584372"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FFFFFF"/>
              </a:solidFill>
              <a:effectLst/>
              <a:uLnTx/>
              <a:uFillTx/>
              <a:latin typeface="+mn-lt"/>
              <a:ea typeface="+mn-ea"/>
              <a:cs typeface="+mn-cs"/>
            </a:endParaRPr>
          </a:p>
          <a:p>
            <a:endParaRPr lang="en-US" sz="600" dirty="0">
              <a:solidFill>
                <a:srgbClr val="FFFFFF"/>
              </a:solidFill>
              <a:latin typeface="Arial"/>
            </a:endParaRPr>
          </a:p>
        </p:txBody>
      </p:sp>
      <p:sp>
        <p:nvSpPr>
          <p:cNvPr id="11" name="Rectangle 10"/>
          <p:cNvSpPr/>
          <p:nvPr userDrawn="1"/>
        </p:nvSpPr>
        <p:spPr>
          <a:xfrm>
            <a:off x="7569962" y="6536100"/>
            <a:ext cx="4622041" cy="321905"/>
          </a:xfrm>
          <a:prstGeom prst="rect">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r"/>
            <a:r>
              <a:rPr lang="en-US" sz="1050" dirty="0">
                <a:solidFill>
                  <a:schemeClr val="bg1"/>
                </a:solidFill>
                <a:latin typeface="+mn-lt"/>
                <a:cs typeface="Arial" pitchFamily="34" charset="0"/>
              </a:rPr>
              <a:t>The Underwear Group</a:t>
            </a:r>
          </a:p>
        </p:txBody>
      </p:sp>
    </p:spTree>
    <p:extLst>
      <p:ext uri="{BB962C8B-B14F-4D97-AF65-F5344CB8AC3E}">
        <p14:creationId xmlns:p14="http://schemas.microsoft.com/office/powerpoint/2010/main" val="57620037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Lst>
  <p:hf sldNum="0" hdr="0" dt="0"/>
  <p:txStyles>
    <p:titleStyle>
      <a:lvl1pPr algn="l" defTabSz="584439" rtl="0" eaLnBrk="1" latinLnBrk="0" hangingPunct="1">
        <a:spcBef>
          <a:spcPct val="0"/>
        </a:spcBef>
        <a:buNone/>
        <a:defRPr sz="1800" b="0" kern="1200">
          <a:solidFill>
            <a:schemeClr val="tx1"/>
          </a:solidFill>
          <a:latin typeface="Futura-Book" pitchFamily="34" charset="0"/>
          <a:ea typeface="+mj-ea"/>
          <a:cs typeface="+mj-cs"/>
        </a:defRPr>
      </a:lvl1pPr>
    </p:titleStyle>
    <p:bodyStyle>
      <a:lvl1pPr marL="0" indent="0" algn="l" defTabSz="584439" rtl="0" eaLnBrk="1" latinLnBrk="0" hangingPunct="1">
        <a:spcBef>
          <a:spcPts val="245"/>
        </a:spcBef>
        <a:buFontTx/>
        <a:buNone/>
        <a:defRPr sz="1050" b="1" kern="1200">
          <a:solidFill>
            <a:schemeClr val="tx1"/>
          </a:solidFill>
          <a:latin typeface="+mn-lt"/>
          <a:ea typeface="+mn-ea"/>
          <a:cs typeface="+mn-cs"/>
        </a:defRPr>
      </a:lvl1pPr>
      <a:lvl2pPr marL="292220" indent="-146110" algn="l" defTabSz="584439" rtl="0" eaLnBrk="1" latinLnBrk="0" hangingPunct="1">
        <a:spcBef>
          <a:spcPts val="245"/>
        </a:spcBef>
        <a:buClr>
          <a:schemeClr val="tx1"/>
        </a:buClr>
        <a:buSzPct val="90000"/>
        <a:buFont typeface="Wingdings" pitchFamily="2" charset="2"/>
        <a:buChar char="§"/>
        <a:defRPr sz="1050" kern="1200">
          <a:solidFill>
            <a:schemeClr val="tx1"/>
          </a:solidFill>
          <a:latin typeface="+mn-lt"/>
          <a:ea typeface="+mn-ea"/>
          <a:cs typeface="+mn-cs"/>
        </a:defRPr>
      </a:lvl2pPr>
      <a:lvl3pPr marL="584439" indent="-146110" algn="l" defTabSz="584439" rtl="0" eaLnBrk="1" latinLnBrk="0" hangingPunct="1">
        <a:spcBef>
          <a:spcPts val="245"/>
        </a:spcBef>
        <a:buClr>
          <a:schemeClr val="tx1"/>
        </a:buClr>
        <a:buSzPct val="90000"/>
        <a:buFont typeface="Arial" pitchFamily="34" charset="0"/>
        <a:buChar char="–"/>
        <a:defRPr sz="1050" kern="1200">
          <a:solidFill>
            <a:schemeClr val="tx1"/>
          </a:solidFill>
          <a:latin typeface="+mn-lt"/>
          <a:ea typeface="+mn-ea"/>
          <a:cs typeface="+mn-cs"/>
        </a:defRPr>
      </a:lvl3pPr>
      <a:lvl4pPr marL="879703" indent="-149153" algn="l" defTabSz="584439" rtl="0" eaLnBrk="1" latinLnBrk="0" hangingPunct="1">
        <a:spcBef>
          <a:spcPts val="245"/>
        </a:spcBef>
        <a:buClr>
          <a:schemeClr val="tx1"/>
        </a:buClr>
        <a:buSzPct val="90000"/>
        <a:buFont typeface="Wingdings" pitchFamily="2" charset="2"/>
        <a:buChar char="§"/>
        <a:defRPr sz="1050" kern="1200">
          <a:solidFill>
            <a:schemeClr val="tx1"/>
          </a:solidFill>
          <a:latin typeface="+mn-lt"/>
          <a:ea typeface="+mn-ea"/>
          <a:cs typeface="+mn-cs"/>
        </a:defRPr>
      </a:lvl4pPr>
      <a:lvl5pPr marL="1316003" indent="-147125" algn="l" defTabSz="584439" rtl="0" eaLnBrk="1" latinLnBrk="0" hangingPunct="1">
        <a:spcBef>
          <a:spcPts val="245"/>
        </a:spcBef>
        <a:buClr>
          <a:schemeClr val="tx1"/>
        </a:buClr>
        <a:buSzPct val="90000"/>
        <a:buFont typeface="Arial" pitchFamily="34" charset="0"/>
        <a:buChar char="–"/>
        <a:defRPr sz="1050" kern="1200">
          <a:solidFill>
            <a:schemeClr val="tx1"/>
          </a:solidFill>
          <a:latin typeface="+mn-lt"/>
          <a:ea typeface="+mn-ea"/>
          <a:cs typeface="+mn-cs"/>
        </a:defRPr>
      </a:lvl5pPr>
      <a:lvl6pPr marL="1607207" indent="-146110" algn="l" defTabSz="584439" rtl="0" eaLnBrk="1" latinLnBrk="0" hangingPunct="1">
        <a:spcBef>
          <a:spcPct val="20000"/>
        </a:spcBef>
        <a:buFont typeface="Arial" pitchFamily="34" charset="0"/>
        <a:buChar char="•"/>
        <a:defRPr sz="1275" kern="1200">
          <a:solidFill>
            <a:schemeClr val="tx1"/>
          </a:solidFill>
          <a:latin typeface="+mn-lt"/>
          <a:ea typeface="+mn-ea"/>
          <a:cs typeface="+mn-cs"/>
        </a:defRPr>
      </a:lvl6pPr>
      <a:lvl7pPr marL="1899426" indent="-146110" algn="l" defTabSz="584439" rtl="0" eaLnBrk="1" latinLnBrk="0" hangingPunct="1">
        <a:spcBef>
          <a:spcPct val="20000"/>
        </a:spcBef>
        <a:buFont typeface="Arial" pitchFamily="34" charset="0"/>
        <a:buChar char="•"/>
        <a:defRPr sz="1275" kern="1200">
          <a:solidFill>
            <a:schemeClr val="tx1"/>
          </a:solidFill>
          <a:latin typeface="+mn-lt"/>
          <a:ea typeface="+mn-ea"/>
          <a:cs typeface="+mn-cs"/>
        </a:defRPr>
      </a:lvl7pPr>
      <a:lvl8pPr marL="2191646" indent="-146110" algn="l" defTabSz="584439" rtl="0" eaLnBrk="1" latinLnBrk="0" hangingPunct="1">
        <a:spcBef>
          <a:spcPct val="20000"/>
        </a:spcBef>
        <a:buFont typeface="Arial" pitchFamily="34" charset="0"/>
        <a:buChar char="•"/>
        <a:defRPr sz="1275" kern="1200">
          <a:solidFill>
            <a:schemeClr val="tx1"/>
          </a:solidFill>
          <a:latin typeface="+mn-lt"/>
          <a:ea typeface="+mn-ea"/>
          <a:cs typeface="+mn-cs"/>
        </a:defRPr>
      </a:lvl8pPr>
      <a:lvl9pPr marL="2483865" indent="-146110" algn="l" defTabSz="584439" rtl="0" eaLnBrk="1" latinLnBrk="0" hangingPunct="1">
        <a:spcBef>
          <a:spcPct val="20000"/>
        </a:spcBef>
        <a:buFont typeface="Arial" pitchFamily="34" charset="0"/>
        <a:buChar char="•"/>
        <a:defRPr sz="1275" kern="1200">
          <a:solidFill>
            <a:schemeClr val="tx1"/>
          </a:solidFill>
          <a:latin typeface="+mn-lt"/>
          <a:ea typeface="+mn-ea"/>
          <a:cs typeface="+mn-cs"/>
        </a:defRPr>
      </a:lvl9pPr>
    </p:bodyStyle>
    <p:otherStyle>
      <a:defPPr>
        <a:defRPr lang="en-US"/>
      </a:defPPr>
      <a:lvl1pPr marL="0" algn="l" defTabSz="584439" rtl="0" eaLnBrk="1" latinLnBrk="0" hangingPunct="1">
        <a:defRPr sz="1125" kern="1200">
          <a:solidFill>
            <a:schemeClr val="tx1"/>
          </a:solidFill>
          <a:latin typeface="+mn-lt"/>
          <a:ea typeface="+mn-ea"/>
          <a:cs typeface="+mn-cs"/>
        </a:defRPr>
      </a:lvl1pPr>
      <a:lvl2pPr marL="292220" algn="l" defTabSz="584439" rtl="0" eaLnBrk="1" latinLnBrk="0" hangingPunct="1">
        <a:defRPr sz="1125" kern="1200">
          <a:solidFill>
            <a:schemeClr val="tx1"/>
          </a:solidFill>
          <a:latin typeface="+mn-lt"/>
          <a:ea typeface="+mn-ea"/>
          <a:cs typeface="+mn-cs"/>
        </a:defRPr>
      </a:lvl2pPr>
      <a:lvl3pPr marL="584439" algn="l" defTabSz="584439" rtl="0" eaLnBrk="1" latinLnBrk="0" hangingPunct="1">
        <a:defRPr sz="1125" kern="1200">
          <a:solidFill>
            <a:schemeClr val="tx1"/>
          </a:solidFill>
          <a:latin typeface="+mn-lt"/>
          <a:ea typeface="+mn-ea"/>
          <a:cs typeface="+mn-cs"/>
        </a:defRPr>
      </a:lvl3pPr>
      <a:lvl4pPr marL="876659" algn="l" defTabSz="584439" rtl="0" eaLnBrk="1" latinLnBrk="0" hangingPunct="1">
        <a:defRPr sz="1125" kern="1200">
          <a:solidFill>
            <a:schemeClr val="tx1"/>
          </a:solidFill>
          <a:latin typeface="+mn-lt"/>
          <a:ea typeface="+mn-ea"/>
          <a:cs typeface="+mn-cs"/>
        </a:defRPr>
      </a:lvl4pPr>
      <a:lvl5pPr marL="1168877" algn="l" defTabSz="584439" rtl="0" eaLnBrk="1" latinLnBrk="0" hangingPunct="1">
        <a:defRPr sz="1125" kern="1200">
          <a:solidFill>
            <a:schemeClr val="tx1"/>
          </a:solidFill>
          <a:latin typeface="+mn-lt"/>
          <a:ea typeface="+mn-ea"/>
          <a:cs typeface="+mn-cs"/>
        </a:defRPr>
      </a:lvl5pPr>
      <a:lvl6pPr marL="1461097" algn="l" defTabSz="584439" rtl="0" eaLnBrk="1" latinLnBrk="0" hangingPunct="1">
        <a:defRPr sz="1125" kern="1200">
          <a:solidFill>
            <a:schemeClr val="tx1"/>
          </a:solidFill>
          <a:latin typeface="+mn-lt"/>
          <a:ea typeface="+mn-ea"/>
          <a:cs typeface="+mn-cs"/>
        </a:defRPr>
      </a:lvl6pPr>
      <a:lvl7pPr marL="1753316" algn="l" defTabSz="584439" rtl="0" eaLnBrk="1" latinLnBrk="0" hangingPunct="1">
        <a:defRPr sz="1125" kern="1200">
          <a:solidFill>
            <a:schemeClr val="tx1"/>
          </a:solidFill>
          <a:latin typeface="+mn-lt"/>
          <a:ea typeface="+mn-ea"/>
          <a:cs typeface="+mn-cs"/>
        </a:defRPr>
      </a:lvl7pPr>
      <a:lvl8pPr marL="2045536" algn="l" defTabSz="584439" rtl="0" eaLnBrk="1" latinLnBrk="0" hangingPunct="1">
        <a:defRPr sz="1125" kern="1200">
          <a:solidFill>
            <a:schemeClr val="tx1"/>
          </a:solidFill>
          <a:latin typeface="+mn-lt"/>
          <a:ea typeface="+mn-ea"/>
          <a:cs typeface="+mn-cs"/>
        </a:defRPr>
      </a:lvl8pPr>
      <a:lvl9pPr marL="2337755" algn="l" defTabSz="584439" rtl="0" eaLnBrk="1" latinLnBrk="0" hangingPunct="1">
        <a:defRPr sz="112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1" y="0"/>
          <a:ext cx="215979" cy="161974"/>
        </p:xfrm>
        <a:graphic>
          <a:graphicData uri="http://schemas.openxmlformats.org/presentationml/2006/ole">
            <mc:AlternateContent xmlns:mc="http://schemas.openxmlformats.org/markup-compatibility/2006">
              <mc:Choice xmlns:v="urn:schemas-microsoft-com:vml" Requires="v">
                <p:oleObj spid="_x0000_s11357" name="think-cell Slide" r:id="rId31" imgW="360" imgH="360" progId="">
                  <p:embed/>
                </p:oleObj>
              </mc:Choice>
              <mc:Fallback>
                <p:oleObj name="think-cell Slide" r:id="rId31" imgW="360" imgH="360" progId="">
                  <p:embed/>
                  <p:pic>
                    <p:nvPicPr>
                      <p:cNvPr id="0" name="Picture 44"/>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14"/>
            </p:custDataLst>
          </p:nvPr>
        </p:nvSpPr>
        <p:spPr bwMode="auto">
          <a:xfrm>
            <a:off x="1"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115" dirty="0">
              <a:solidFill>
                <a:srgbClr val="000000"/>
              </a:solidFill>
              <a:sym typeface="Arial" panose="020B0604020202020204" pitchFamily="34" charset="0"/>
            </a:endParaRPr>
          </a:p>
        </p:txBody>
      </p:sp>
      <p:sp>
        <p:nvSpPr>
          <p:cNvPr id="107" name="Slide Number"/>
          <p:cNvSpPr txBox="1">
            <a:spLocks/>
          </p:cNvSpPr>
          <p:nvPr userDrawn="1"/>
        </p:nvSpPr>
        <p:spPr bwMode="auto">
          <a:xfrm>
            <a:off x="11878649" y="6661546"/>
            <a:ext cx="83356" cy="86627"/>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563" b="0" baseline="0" smtClean="0">
                <a:solidFill>
                  <a:schemeClr val="tx1"/>
                </a:solidFill>
                <a:latin typeface="+mn-lt"/>
              </a:rPr>
              <a:pPr algn="r"/>
              <a:t>‹#›</a:t>
            </a:fld>
            <a:endParaRPr lang="en-US" sz="563" b="0" baseline="0" dirty="0">
              <a:solidFill>
                <a:schemeClr val="tx1"/>
              </a:solidFill>
              <a:latin typeface="+mn-lt"/>
            </a:endParaRPr>
          </a:p>
        </p:txBody>
      </p:sp>
      <p:sp>
        <p:nvSpPr>
          <p:cNvPr id="19" name="Title Placeholder 2"/>
          <p:cNvSpPr>
            <a:spLocks noGrp="1" noChangeArrowheads="1"/>
          </p:cNvSpPr>
          <p:nvPr>
            <p:ph type="title"/>
          </p:nvPr>
        </p:nvSpPr>
        <p:spPr bwMode="auto">
          <a:xfrm>
            <a:off x="723900" y="230318"/>
            <a:ext cx="10820400" cy="369332"/>
          </a:xfrm>
          <a:prstGeom prst="rect">
            <a:avLst/>
          </a:prstGeom>
        </p:spPr>
        <p:txBody>
          <a:bodyPr>
            <a:spAutoFit/>
          </a:bodyPr>
          <a:lstStyle/>
          <a:p>
            <a:pPr lvl="0"/>
            <a:r>
              <a:rPr lang="en-US" dirty="0"/>
              <a:t>Click to edit Master title style</a:t>
            </a:r>
            <a:endParaRPr lang="en-US" noProof="0" dirty="0"/>
          </a:p>
        </p:txBody>
      </p:sp>
      <p:sp>
        <p:nvSpPr>
          <p:cNvPr id="3" name="Text Placeholder 2"/>
          <p:cNvSpPr>
            <a:spLocks noGrp="1"/>
          </p:cNvSpPr>
          <p:nvPr>
            <p:ph type="body" idx="1"/>
          </p:nvPr>
        </p:nvSpPr>
        <p:spPr bwMode="auto">
          <a:xfrm>
            <a:off x="1976208" y="2935528"/>
            <a:ext cx="5853024" cy="692497"/>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10" name="1. On-page tracker" hidden="1"/>
          <p:cNvSpPr>
            <a:spLocks noChangeArrowheads="1"/>
          </p:cNvSpPr>
          <p:nvPr/>
        </p:nvSpPr>
        <p:spPr bwMode="auto">
          <a:xfrm>
            <a:off x="233257" y="9527"/>
            <a:ext cx="373500" cy="121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788"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233256" y="607135"/>
            <a:ext cx="1028700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900" baseline="0" dirty="0">
                <a:solidFill>
                  <a:schemeClr val="accent6"/>
                </a:solidFill>
                <a:latin typeface="+mn-lt"/>
                <a:ea typeface="+mn-ea"/>
              </a:rPr>
              <a:t>Unit of measure</a:t>
            </a:r>
          </a:p>
        </p:txBody>
      </p:sp>
      <p:grpSp>
        <p:nvGrpSpPr>
          <p:cNvPr id="4" name="Slide Elements" hidden="1"/>
          <p:cNvGrpSpPr/>
          <p:nvPr userDrawn="1"/>
        </p:nvGrpSpPr>
        <p:grpSpPr bwMode="auto">
          <a:xfrm>
            <a:off x="233257" y="6489465"/>
            <a:ext cx="11539643" cy="292336"/>
            <a:chOff x="119063" y="6344866"/>
            <a:chExt cx="8618537" cy="286517"/>
          </a:xfrm>
        </p:grpSpPr>
        <p:sp>
          <p:nvSpPr>
            <p:cNvPr id="13" name="4. Footnote"/>
            <p:cNvSpPr txBox="1">
              <a:spLocks noChangeArrowheads="1"/>
            </p:cNvSpPr>
            <p:nvPr/>
          </p:nvSpPr>
          <p:spPr bwMode="auto">
            <a:xfrm>
              <a:off x="119063" y="6344866"/>
              <a:ext cx="8618537" cy="84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3579" indent="-53579">
                <a:defRPr/>
              </a:pPr>
              <a:r>
                <a:rPr lang="en-US" sz="563" baseline="0" dirty="0">
                  <a:solidFill>
                    <a:schemeClr val="tx1"/>
                  </a:solidFill>
                  <a:latin typeface="+mn-lt"/>
                  <a:ea typeface="+mn-ea"/>
                </a:rPr>
                <a:t>1 Footnote</a:t>
              </a:r>
            </a:p>
          </p:txBody>
        </p:sp>
        <p:sp>
          <p:nvSpPr>
            <p:cNvPr id="14" name="5. Source"/>
            <p:cNvSpPr>
              <a:spLocks noChangeArrowheads="1"/>
            </p:cNvSpPr>
            <p:nvPr/>
          </p:nvSpPr>
          <p:spPr bwMode="auto">
            <a:xfrm>
              <a:off x="119064" y="6546480"/>
              <a:ext cx="8251387" cy="84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273248" indent="-273248" defTabSz="514013">
                <a:tabLst>
                  <a:tab pos="342900" algn="l"/>
                </a:tabLst>
              </a:pPr>
              <a:r>
                <a:rPr lang="en-US" sz="563" baseline="0" dirty="0">
                  <a:solidFill>
                    <a:schemeClr val="tx1"/>
                  </a:solidFill>
                  <a:latin typeface="+mn-lt"/>
                  <a:ea typeface="+mn-ea"/>
                </a:rPr>
                <a:t>SOURCE: Source</a:t>
              </a:r>
            </a:p>
          </p:txBody>
        </p:sp>
      </p:grpSp>
      <p:grpSp>
        <p:nvGrpSpPr>
          <p:cNvPr id="15" name="ACET" hidden="1"/>
          <p:cNvGrpSpPr>
            <a:grpSpLocks/>
          </p:cNvGrpSpPr>
          <p:nvPr/>
        </p:nvGrpSpPr>
        <p:grpSpPr bwMode="auto">
          <a:xfrm>
            <a:off x="1976205" y="2565642"/>
            <a:ext cx="5853024" cy="294794"/>
            <a:chOff x="915" y="848"/>
            <a:chExt cx="2686" cy="182"/>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848"/>
              <a:ext cx="2686" cy="18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900" b="1" baseline="0" dirty="0">
                  <a:solidFill>
                    <a:srgbClr val="000000"/>
                  </a:solidFill>
                  <a:latin typeface="+mn-lt"/>
                  <a:ea typeface="+mn-ea"/>
                </a:rPr>
                <a:t>Title</a:t>
              </a:r>
            </a:p>
            <a:p>
              <a:r>
                <a:rPr lang="en-US" sz="900" baseline="0" dirty="0">
                  <a:solidFill>
                    <a:schemeClr val="accent6"/>
                  </a:solidFill>
                  <a:latin typeface="+mn-lt"/>
                  <a:ea typeface="+mn-ea"/>
                </a:rPr>
                <a:t>Unit of measure</a:t>
              </a:r>
            </a:p>
          </p:txBody>
        </p:sp>
      </p:grpSp>
      <p:grpSp>
        <p:nvGrpSpPr>
          <p:cNvPr id="63" name="LegendBoxes" hidden="1"/>
          <p:cNvGrpSpPr>
            <a:grpSpLocks/>
          </p:cNvGrpSpPr>
          <p:nvPr userDrawn="1"/>
        </p:nvGrpSpPr>
        <p:grpSpPr bwMode="auto">
          <a:xfrm>
            <a:off x="9819959" y="304624"/>
            <a:ext cx="508000" cy="984251"/>
            <a:chOff x="4936" y="176"/>
            <a:chExt cx="320" cy="620"/>
          </a:xfrm>
        </p:grpSpPr>
        <p:sp>
          <p:nvSpPr>
            <p:cNvPr id="64" name="Legend1"/>
            <p:cNvSpPr>
              <a:spLocks noChangeArrowheads="1"/>
            </p:cNvSpPr>
            <p:nvPr/>
          </p:nvSpPr>
          <p:spPr bwMode="auto">
            <a:xfrm>
              <a:off x="5096" y="176"/>
              <a:ext cx="160" cy="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786">
                <a:buClr>
                  <a:schemeClr val="tx2"/>
                </a:buClr>
              </a:pPr>
              <a:r>
                <a:rPr lang="en-US" sz="675">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sp>
          <p:nvSpPr>
            <p:cNvPr id="66" name="Legend2"/>
            <p:cNvSpPr>
              <a:spLocks noChangeArrowheads="1"/>
            </p:cNvSpPr>
            <p:nvPr/>
          </p:nvSpPr>
          <p:spPr bwMode="auto">
            <a:xfrm>
              <a:off x="5096" y="346"/>
              <a:ext cx="160" cy="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786">
                <a:buClr>
                  <a:schemeClr val="tx2"/>
                </a:buClr>
              </a:pPr>
              <a:r>
                <a:rPr lang="en-US" sz="675">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sp>
          <p:nvSpPr>
            <p:cNvPr id="68" name="Legend3"/>
            <p:cNvSpPr>
              <a:spLocks noChangeArrowheads="1"/>
            </p:cNvSpPr>
            <p:nvPr/>
          </p:nvSpPr>
          <p:spPr bwMode="auto">
            <a:xfrm>
              <a:off x="5096" y="517"/>
              <a:ext cx="160" cy="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786">
                <a:buClr>
                  <a:schemeClr val="tx2"/>
                </a:buClr>
              </a:pPr>
              <a:r>
                <a:rPr lang="en-US" sz="675">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sp>
          <p:nvSpPr>
            <p:cNvPr id="70" name="Legend4"/>
            <p:cNvSpPr>
              <a:spLocks noChangeArrowheads="1"/>
            </p:cNvSpPr>
            <p:nvPr/>
          </p:nvSpPr>
          <p:spPr bwMode="auto">
            <a:xfrm>
              <a:off x="5096" y="688"/>
              <a:ext cx="160" cy="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786">
                <a:buClr>
                  <a:schemeClr val="tx2"/>
                </a:buClr>
              </a:pPr>
              <a:r>
                <a:rPr lang="en-US" sz="675">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grpSp>
      <p:grpSp>
        <p:nvGrpSpPr>
          <p:cNvPr id="72" name="LegendLines" hidden="1"/>
          <p:cNvGrpSpPr>
            <a:grpSpLocks/>
          </p:cNvGrpSpPr>
          <p:nvPr userDrawn="1"/>
        </p:nvGrpSpPr>
        <p:grpSpPr bwMode="auto">
          <a:xfrm>
            <a:off x="9511984" y="304622"/>
            <a:ext cx="815975" cy="649288"/>
            <a:chOff x="4750" y="176"/>
            <a:chExt cx="514" cy="409"/>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94">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94">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94">
                <a:latin typeface="+mn-lt"/>
              </a:endParaRPr>
            </a:p>
          </p:txBody>
        </p:sp>
        <p:sp>
          <p:nvSpPr>
            <p:cNvPr id="76" name="Legend1"/>
            <p:cNvSpPr>
              <a:spLocks noChangeArrowheads="1"/>
            </p:cNvSpPr>
            <p:nvPr/>
          </p:nvSpPr>
          <p:spPr bwMode="auto">
            <a:xfrm>
              <a:off x="5104" y="176"/>
              <a:ext cx="160" cy="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786">
                <a:buClr>
                  <a:schemeClr val="tx2"/>
                </a:buClr>
              </a:pPr>
              <a:r>
                <a:rPr lang="en-US" sz="675">
                  <a:latin typeface="+mn-lt"/>
                </a:rPr>
                <a:t>Legend</a:t>
              </a:r>
            </a:p>
          </p:txBody>
        </p:sp>
        <p:sp>
          <p:nvSpPr>
            <p:cNvPr id="77" name="Legend2"/>
            <p:cNvSpPr>
              <a:spLocks noChangeArrowheads="1"/>
            </p:cNvSpPr>
            <p:nvPr/>
          </p:nvSpPr>
          <p:spPr bwMode="auto">
            <a:xfrm>
              <a:off x="5104" y="344"/>
              <a:ext cx="160" cy="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786">
                <a:buClr>
                  <a:schemeClr val="tx2"/>
                </a:buClr>
              </a:pPr>
              <a:r>
                <a:rPr lang="en-US" sz="675">
                  <a:latin typeface="+mn-lt"/>
                </a:rPr>
                <a:t>Legend</a:t>
              </a:r>
            </a:p>
          </p:txBody>
        </p:sp>
        <p:sp>
          <p:nvSpPr>
            <p:cNvPr id="78" name="Legend3"/>
            <p:cNvSpPr>
              <a:spLocks noChangeArrowheads="1"/>
            </p:cNvSpPr>
            <p:nvPr/>
          </p:nvSpPr>
          <p:spPr bwMode="auto">
            <a:xfrm>
              <a:off x="5104" y="520"/>
              <a:ext cx="160" cy="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786">
                <a:buClr>
                  <a:schemeClr val="tx2"/>
                </a:buClr>
              </a:pPr>
              <a:r>
                <a:rPr lang="en-US" sz="675">
                  <a:latin typeface="+mn-lt"/>
                </a:rPr>
                <a:t>Legend</a:t>
              </a:r>
            </a:p>
          </p:txBody>
        </p:sp>
      </p:grpSp>
      <p:grpSp>
        <p:nvGrpSpPr>
          <p:cNvPr id="79" name="LegendMoons" hidden="1"/>
          <p:cNvGrpSpPr/>
          <p:nvPr userDrawn="1"/>
        </p:nvGrpSpPr>
        <p:grpSpPr bwMode="auto">
          <a:xfrm>
            <a:off x="9753507" y="304619"/>
            <a:ext cx="573950" cy="1306516"/>
            <a:chOff x="7875175" y="286625"/>
            <a:chExt cx="573949" cy="1306516"/>
          </a:xfrm>
        </p:grpSpPr>
        <p:grpSp>
          <p:nvGrpSpPr>
            <p:cNvPr id="80" name="MoonLegend2"/>
            <p:cNvGrpSpPr>
              <a:grpSpLocks noChangeAspect="1"/>
            </p:cNvGrpSpPr>
            <p:nvPr>
              <p:custDataLst>
                <p:tags r:id="rId16"/>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sp>
            <p:nvSpPr>
              <p:cNvPr id="99" name="Arc 42"/>
              <p:cNvSpPr>
                <a:spLocks noChangeAspect="1"/>
              </p:cNvSpPr>
              <p:nvPr>
                <p:custDataLst>
                  <p:tags r:id="rId30"/>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grpSp>
        <p:grpSp>
          <p:nvGrpSpPr>
            <p:cNvPr id="81" name="MoonLegend4"/>
            <p:cNvGrpSpPr>
              <a:grpSpLocks noChangeAspect="1"/>
            </p:cNvGrpSpPr>
            <p:nvPr>
              <p:custDataLst>
                <p:tags r:id="rId17"/>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sp>
            <p:nvSpPr>
              <p:cNvPr id="97" name="Arc 48"/>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grpSp>
        <p:grpSp>
          <p:nvGrpSpPr>
            <p:cNvPr id="82" name="MoonLegend5"/>
            <p:cNvGrpSpPr>
              <a:grpSpLocks noChangeAspect="1"/>
            </p:cNvGrpSpPr>
            <p:nvPr>
              <p:custDataLst>
                <p:tags r:id="rId18"/>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sp>
            <p:nvSpPr>
              <p:cNvPr id="95" name="Oval 51"/>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grpSp>
        <p:sp>
          <p:nvSpPr>
            <p:cNvPr id="83" name="Legend1"/>
            <p:cNvSpPr>
              <a:spLocks noChangeArrowheads="1"/>
            </p:cNvSpPr>
            <p:nvPr/>
          </p:nvSpPr>
          <p:spPr bwMode="auto">
            <a:xfrm>
              <a:off x="8195849" y="299325"/>
              <a:ext cx="253274" cy="1038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786">
                <a:buClr>
                  <a:schemeClr val="tx2"/>
                </a:buClr>
              </a:pPr>
              <a:r>
                <a:rPr lang="en-US" sz="675" dirty="0">
                  <a:latin typeface="+mn-lt"/>
                </a:rPr>
                <a:t>Legend</a:t>
              </a:r>
            </a:p>
          </p:txBody>
        </p:sp>
        <p:sp>
          <p:nvSpPr>
            <p:cNvPr id="84" name="Legend2"/>
            <p:cNvSpPr>
              <a:spLocks noChangeArrowheads="1"/>
            </p:cNvSpPr>
            <p:nvPr/>
          </p:nvSpPr>
          <p:spPr bwMode="auto">
            <a:xfrm>
              <a:off x="8195850" y="573963"/>
              <a:ext cx="253274" cy="1038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786">
                <a:buClr>
                  <a:schemeClr val="tx2"/>
                </a:buClr>
              </a:pPr>
              <a:r>
                <a:rPr lang="en-US" sz="675" dirty="0">
                  <a:latin typeface="+mn-lt"/>
                </a:rPr>
                <a:t>Legend</a:t>
              </a:r>
            </a:p>
          </p:txBody>
        </p:sp>
        <p:sp>
          <p:nvSpPr>
            <p:cNvPr id="85" name="Legend3"/>
            <p:cNvSpPr>
              <a:spLocks noChangeArrowheads="1"/>
            </p:cNvSpPr>
            <p:nvPr/>
          </p:nvSpPr>
          <p:spPr bwMode="auto">
            <a:xfrm>
              <a:off x="8195849" y="848602"/>
              <a:ext cx="253274" cy="1038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786">
                <a:buClr>
                  <a:schemeClr val="tx2"/>
                </a:buClr>
              </a:pPr>
              <a:r>
                <a:rPr lang="en-US" sz="675" dirty="0">
                  <a:latin typeface="+mn-lt"/>
                </a:rPr>
                <a:t>Legend</a:t>
              </a:r>
            </a:p>
          </p:txBody>
        </p:sp>
        <p:sp>
          <p:nvSpPr>
            <p:cNvPr id="86" name="Legend4"/>
            <p:cNvSpPr>
              <a:spLocks noChangeArrowheads="1"/>
            </p:cNvSpPr>
            <p:nvPr/>
          </p:nvSpPr>
          <p:spPr bwMode="auto">
            <a:xfrm>
              <a:off x="8195849" y="1120065"/>
              <a:ext cx="253274" cy="1038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786">
                <a:buClr>
                  <a:schemeClr val="tx2"/>
                </a:buClr>
              </a:pPr>
              <a:r>
                <a:rPr lang="en-US" sz="675">
                  <a:latin typeface="+mn-lt"/>
                </a:rPr>
                <a:t>Legend</a:t>
              </a:r>
            </a:p>
          </p:txBody>
        </p:sp>
        <p:sp>
          <p:nvSpPr>
            <p:cNvPr id="87" name="Legend5"/>
            <p:cNvSpPr>
              <a:spLocks noChangeArrowheads="1"/>
            </p:cNvSpPr>
            <p:nvPr/>
          </p:nvSpPr>
          <p:spPr bwMode="auto">
            <a:xfrm>
              <a:off x="8195849" y="1396290"/>
              <a:ext cx="253274" cy="1038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786">
                <a:buClr>
                  <a:schemeClr val="tx2"/>
                </a:buClr>
              </a:pPr>
              <a:r>
                <a:rPr lang="en-US" sz="675" dirty="0">
                  <a:latin typeface="+mn-lt"/>
                </a:rPr>
                <a:t>Legend</a:t>
              </a:r>
            </a:p>
          </p:txBody>
        </p:sp>
        <p:grpSp>
          <p:nvGrpSpPr>
            <p:cNvPr id="88" name="MoonLegend3"/>
            <p:cNvGrpSpPr>
              <a:grpSpLocks noChangeAspect="1"/>
            </p:cNvGrpSpPr>
            <p:nvPr>
              <p:custDataLst>
                <p:tags r:id="rId19"/>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sp>
            <p:nvSpPr>
              <p:cNvPr id="93"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grpSp>
        <p:grpSp>
          <p:nvGrpSpPr>
            <p:cNvPr id="89" name="MoonLegend1"/>
            <p:cNvGrpSpPr>
              <a:grpSpLocks noChangeAspect="1"/>
            </p:cNvGrpSpPr>
            <p:nvPr userDrawn="1">
              <p:custDataLst>
                <p:tags r:id="rId20"/>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94">
                  <a:latin typeface="+mn-lt"/>
                </a:endParaRPr>
              </a:p>
            </p:txBody>
          </p:sp>
        </p:grpSp>
      </p:grpSp>
      <p:grpSp>
        <p:nvGrpSpPr>
          <p:cNvPr id="100" name="McKSticker" hidden="1"/>
          <p:cNvGrpSpPr/>
          <p:nvPr userDrawn="1"/>
        </p:nvGrpSpPr>
        <p:grpSpPr bwMode="auto">
          <a:xfrm>
            <a:off x="9638789" y="304619"/>
            <a:ext cx="884435" cy="212366"/>
            <a:chOff x="7856340" y="285750"/>
            <a:chExt cx="884435" cy="212366"/>
          </a:xfrm>
        </p:grpSpPr>
        <p:sp>
          <p:nvSpPr>
            <p:cNvPr id="101" name="StickerRectangle"/>
            <p:cNvSpPr>
              <a:spLocks noChangeArrowheads="1"/>
            </p:cNvSpPr>
            <p:nvPr/>
          </p:nvSpPr>
          <p:spPr bwMode="auto">
            <a:xfrm>
              <a:off x="8230571" y="285750"/>
              <a:ext cx="510204" cy="13157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786">
                <a:buClr>
                  <a:schemeClr val="tx2"/>
                </a:buClr>
              </a:pPr>
              <a:r>
                <a:rPr lang="en-US" sz="675" dirty="0">
                  <a:solidFill>
                    <a:srgbClr val="808080"/>
                  </a:solidFill>
                  <a:latin typeface="+mn-lt"/>
                </a:rPr>
                <a:t>PRELIMINARY</a:t>
              </a:r>
            </a:p>
          </p:txBody>
        </p:sp>
        <p:cxnSp>
          <p:nvCxnSpPr>
            <p:cNvPr id="102" name="AutoShape 31"/>
            <p:cNvCxnSpPr>
              <a:cxnSpLocks noChangeShapeType="1"/>
              <a:stCxn id="101" idx="2"/>
              <a:endCxn id="101" idx="4"/>
            </p:cNvCxnSpPr>
            <p:nvPr/>
          </p:nvCxnSpPr>
          <p:spPr bwMode="auto">
            <a:xfrm>
              <a:off x="785634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856340" y="498116"/>
              <a:ext cx="88443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2" name="Moon" hidden="1"/>
          <p:cNvGrpSpPr/>
          <p:nvPr userDrawn="1">
            <p:custDataLst>
              <p:tags r:id="rId15"/>
            </p:custDataLst>
          </p:nvPr>
        </p:nvGrpSpPr>
        <p:grpSpPr>
          <a:xfrm>
            <a:off x="8515925" y="1214424"/>
            <a:ext cx="254000" cy="254000"/>
            <a:chOff x="762000" y="1270000"/>
            <a:chExt cx="254000" cy="254000"/>
          </a:xfrm>
        </p:grpSpPr>
        <p:sp>
          <p:nvSpPr>
            <p:cNvPr id="106" name="Oval 105"/>
            <p:cNvSpPr/>
            <p:nvPr/>
          </p:nvSpPr>
          <p:spPr>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4" dirty="0" err="1">
                <a:solidFill>
                  <a:schemeClr val="tx1"/>
                </a:solidFill>
              </a:endParaRPr>
            </a:p>
          </p:txBody>
        </p:sp>
        <p:sp>
          <p:nvSpPr>
            <p:cNvPr id="109" name="Arc 108"/>
            <p:cNvSpPr/>
            <p:nvPr/>
          </p:nvSpPr>
          <p:spPr>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94"/>
            </a:p>
          </p:txBody>
        </p:sp>
      </p:grpSp>
    </p:spTree>
    <p:extLst>
      <p:ext uri="{BB962C8B-B14F-4D97-AF65-F5344CB8AC3E}">
        <p14:creationId xmlns:p14="http://schemas.microsoft.com/office/powerpoint/2010/main" val="1038816610"/>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Lst>
  <p:hf sldNum="0" hdr="0" dt="0"/>
  <p:txStyles>
    <p:titleStyle>
      <a:lvl1pPr algn="l" defTabSz="514013" rtl="0" eaLnBrk="1" fontAlgn="base" hangingPunct="1">
        <a:spcBef>
          <a:spcPct val="0"/>
        </a:spcBef>
        <a:spcAft>
          <a:spcPct val="0"/>
        </a:spcAft>
        <a:tabLst>
          <a:tab pos="154933" algn="l"/>
        </a:tabLst>
        <a:defRPr lang="en-US" sz="18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defTabSz="514013" rtl="0" eaLnBrk="1" fontAlgn="base" hangingPunct="1">
        <a:spcBef>
          <a:spcPct val="0"/>
        </a:spcBef>
        <a:spcAft>
          <a:spcPct val="0"/>
        </a:spcAft>
        <a:defRPr sz="1091" b="1">
          <a:solidFill>
            <a:schemeClr val="tx2"/>
          </a:solidFill>
          <a:latin typeface="Arial" charset="0"/>
        </a:defRPr>
      </a:lvl2pPr>
      <a:lvl3pPr algn="l" defTabSz="514013" rtl="0" eaLnBrk="1" fontAlgn="base" hangingPunct="1">
        <a:spcBef>
          <a:spcPct val="0"/>
        </a:spcBef>
        <a:spcAft>
          <a:spcPct val="0"/>
        </a:spcAft>
        <a:defRPr sz="1091" b="1">
          <a:solidFill>
            <a:schemeClr val="tx2"/>
          </a:solidFill>
          <a:latin typeface="Arial" charset="0"/>
        </a:defRPr>
      </a:lvl3pPr>
      <a:lvl4pPr algn="l" defTabSz="514013" rtl="0" eaLnBrk="1" fontAlgn="base" hangingPunct="1">
        <a:spcBef>
          <a:spcPct val="0"/>
        </a:spcBef>
        <a:spcAft>
          <a:spcPct val="0"/>
        </a:spcAft>
        <a:defRPr sz="1091" b="1">
          <a:solidFill>
            <a:schemeClr val="tx2"/>
          </a:solidFill>
          <a:latin typeface="Arial" charset="0"/>
        </a:defRPr>
      </a:lvl4pPr>
      <a:lvl5pPr algn="l" defTabSz="514013" rtl="0" eaLnBrk="1" fontAlgn="base" hangingPunct="1">
        <a:spcBef>
          <a:spcPct val="0"/>
        </a:spcBef>
        <a:spcAft>
          <a:spcPct val="0"/>
        </a:spcAft>
        <a:defRPr sz="1091" b="1">
          <a:solidFill>
            <a:schemeClr val="tx2"/>
          </a:solidFill>
          <a:latin typeface="Arial" charset="0"/>
        </a:defRPr>
      </a:lvl5pPr>
      <a:lvl6pPr marL="262475" algn="l" defTabSz="514013" rtl="0" eaLnBrk="1" fontAlgn="base" hangingPunct="1">
        <a:spcBef>
          <a:spcPct val="0"/>
        </a:spcBef>
        <a:spcAft>
          <a:spcPct val="0"/>
        </a:spcAft>
        <a:defRPr sz="1091" b="1">
          <a:solidFill>
            <a:schemeClr val="tx2"/>
          </a:solidFill>
          <a:latin typeface="Arial" charset="0"/>
        </a:defRPr>
      </a:lvl6pPr>
      <a:lvl7pPr marL="524949" algn="l" defTabSz="514013" rtl="0" eaLnBrk="1" fontAlgn="base" hangingPunct="1">
        <a:spcBef>
          <a:spcPct val="0"/>
        </a:spcBef>
        <a:spcAft>
          <a:spcPct val="0"/>
        </a:spcAft>
        <a:defRPr sz="1091" b="1">
          <a:solidFill>
            <a:schemeClr val="tx2"/>
          </a:solidFill>
          <a:latin typeface="Arial" charset="0"/>
        </a:defRPr>
      </a:lvl7pPr>
      <a:lvl8pPr marL="787423" algn="l" defTabSz="514013" rtl="0" eaLnBrk="1" fontAlgn="base" hangingPunct="1">
        <a:spcBef>
          <a:spcPct val="0"/>
        </a:spcBef>
        <a:spcAft>
          <a:spcPct val="0"/>
        </a:spcAft>
        <a:defRPr sz="1091" b="1">
          <a:solidFill>
            <a:schemeClr val="tx2"/>
          </a:solidFill>
          <a:latin typeface="Arial" charset="0"/>
        </a:defRPr>
      </a:lvl8pPr>
      <a:lvl9pPr marL="1049898" algn="l" defTabSz="514013" rtl="0" eaLnBrk="1" fontAlgn="base" hangingPunct="1">
        <a:spcBef>
          <a:spcPct val="0"/>
        </a:spcBef>
        <a:spcAft>
          <a:spcPct val="0"/>
        </a:spcAft>
        <a:defRPr sz="1091" b="1">
          <a:solidFill>
            <a:schemeClr val="tx2"/>
          </a:solidFill>
          <a:latin typeface="Arial" charset="0"/>
        </a:defRPr>
      </a:lvl9pPr>
    </p:titleStyle>
    <p:bodyStyle>
      <a:lvl1pPr marL="0" indent="0" algn="l" defTabSz="514013" rtl="0" eaLnBrk="1" fontAlgn="base" hangingPunct="1">
        <a:spcBef>
          <a:spcPct val="0"/>
        </a:spcBef>
        <a:spcAft>
          <a:spcPct val="0"/>
        </a:spcAft>
        <a:buClr>
          <a:schemeClr val="tx2"/>
        </a:buClr>
        <a:buSzPct val="100000"/>
        <a:defRPr sz="900" baseline="0">
          <a:solidFill>
            <a:schemeClr val="tx1"/>
          </a:solidFill>
          <a:latin typeface="+mn-lt"/>
          <a:ea typeface="+mn-ea"/>
          <a:cs typeface="+mn-cs"/>
        </a:defRPr>
      </a:lvl1pPr>
      <a:lvl2pPr marL="108047" indent="-110276" algn="l" defTabSz="514013" rtl="0" eaLnBrk="1" fontAlgn="base" hangingPunct="1">
        <a:spcBef>
          <a:spcPct val="0"/>
        </a:spcBef>
        <a:spcAft>
          <a:spcPct val="0"/>
        </a:spcAft>
        <a:buClr>
          <a:schemeClr val="tx2"/>
        </a:buClr>
        <a:buSzPct val="125000"/>
        <a:buFont typeface="Arial" charset="0"/>
        <a:buChar char="▪"/>
        <a:defRPr sz="900" baseline="0">
          <a:solidFill>
            <a:schemeClr val="tx1"/>
          </a:solidFill>
          <a:latin typeface="+mn-lt"/>
        </a:defRPr>
      </a:lvl2pPr>
      <a:lvl3pPr marL="257252" indent="-150376" algn="l" defTabSz="514013" rtl="0" eaLnBrk="1" fontAlgn="base" hangingPunct="1">
        <a:spcBef>
          <a:spcPct val="0"/>
        </a:spcBef>
        <a:spcAft>
          <a:spcPct val="0"/>
        </a:spcAft>
        <a:buClr>
          <a:schemeClr val="tx2"/>
        </a:buClr>
        <a:buSzPct val="120000"/>
        <a:buFont typeface="Arial" charset="0"/>
        <a:buChar char="–"/>
        <a:defRPr sz="900" baseline="0">
          <a:solidFill>
            <a:schemeClr val="tx1"/>
          </a:solidFill>
          <a:latin typeface="+mn-lt"/>
        </a:defRPr>
      </a:lvl3pPr>
      <a:lvl4pPr marL="344718" indent="-89315" algn="l" defTabSz="514013" rtl="0" eaLnBrk="1" fontAlgn="base" hangingPunct="1">
        <a:spcBef>
          <a:spcPct val="0"/>
        </a:spcBef>
        <a:spcAft>
          <a:spcPct val="0"/>
        </a:spcAft>
        <a:buClr>
          <a:schemeClr val="tx2"/>
        </a:buClr>
        <a:buSzPct val="120000"/>
        <a:buFont typeface="Arial" charset="0"/>
        <a:buChar char="▫"/>
        <a:defRPr sz="900" baseline="0">
          <a:solidFill>
            <a:schemeClr val="tx1"/>
          </a:solidFill>
          <a:latin typeface="+mn-lt"/>
        </a:defRPr>
      </a:lvl4pPr>
      <a:lvl5pPr marL="421894" indent="-72031" algn="l" defTabSz="514013"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5pPr>
      <a:lvl6pPr marL="430458" indent="-74733" algn="l" defTabSz="514013" rtl="0" eaLnBrk="1" fontAlgn="base" hangingPunct="1">
        <a:spcBef>
          <a:spcPct val="0"/>
        </a:spcBef>
        <a:spcAft>
          <a:spcPct val="0"/>
        </a:spcAft>
        <a:buClr>
          <a:schemeClr val="tx2"/>
        </a:buClr>
        <a:buSzPct val="89000"/>
        <a:buFont typeface="Arial" charset="0"/>
        <a:buChar char="-"/>
        <a:defRPr sz="918" baseline="0">
          <a:solidFill>
            <a:schemeClr val="tx1"/>
          </a:solidFill>
          <a:latin typeface="+mn-lt"/>
        </a:defRPr>
      </a:lvl6pPr>
      <a:lvl7pPr marL="430458" indent="-74733" algn="l" defTabSz="514013" rtl="0" eaLnBrk="1" fontAlgn="base" hangingPunct="1">
        <a:spcBef>
          <a:spcPct val="0"/>
        </a:spcBef>
        <a:spcAft>
          <a:spcPct val="0"/>
        </a:spcAft>
        <a:buClr>
          <a:schemeClr val="tx2"/>
        </a:buClr>
        <a:buSzPct val="89000"/>
        <a:buFont typeface="Arial" charset="0"/>
        <a:buChar char="-"/>
        <a:defRPr sz="918" baseline="0">
          <a:solidFill>
            <a:schemeClr val="tx1"/>
          </a:solidFill>
          <a:latin typeface="+mn-lt"/>
        </a:defRPr>
      </a:lvl7pPr>
      <a:lvl8pPr marL="430458" indent="-74733" algn="l" defTabSz="514013" rtl="0" eaLnBrk="1" fontAlgn="base" hangingPunct="1">
        <a:spcBef>
          <a:spcPct val="0"/>
        </a:spcBef>
        <a:spcAft>
          <a:spcPct val="0"/>
        </a:spcAft>
        <a:buClr>
          <a:schemeClr val="tx2"/>
        </a:buClr>
        <a:buSzPct val="89000"/>
        <a:buFont typeface="Arial" charset="0"/>
        <a:buChar char="-"/>
        <a:defRPr sz="918" baseline="0">
          <a:solidFill>
            <a:schemeClr val="tx1"/>
          </a:solidFill>
          <a:latin typeface="+mn-lt"/>
        </a:defRPr>
      </a:lvl8pPr>
      <a:lvl9pPr marL="430458" indent="-74733" algn="l" defTabSz="514013" rtl="0" eaLnBrk="1" fontAlgn="base" hangingPunct="1">
        <a:spcBef>
          <a:spcPct val="0"/>
        </a:spcBef>
        <a:spcAft>
          <a:spcPct val="0"/>
        </a:spcAft>
        <a:buClr>
          <a:schemeClr val="tx2"/>
        </a:buClr>
        <a:buSzPct val="89000"/>
        <a:buFont typeface="Arial" charset="0"/>
        <a:buChar char="-"/>
        <a:defRPr sz="918" baseline="0">
          <a:solidFill>
            <a:schemeClr val="tx1"/>
          </a:solidFill>
          <a:latin typeface="+mn-lt"/>
        </a:defRPr>
      </a:lvl9pPr>
    </p:bodyStyle>
    <p:otherStyle>
      <a:defPPr>
        <a:defRPr lang="en-US"/>
      </a:defPPr>
      <a:lvl1pPr marL="0" algn="l" defTabSz="524949" rtl="0" eaLnBrk="1" latinLnBrk="0" hangingPunct="1">
        <a:defRPr sz="1034" kern="1200">
          <a:solidFill>
            <a:schemeClr val="tx1"/>
          </a:solidFill>
          <a:latin typeface="+mn-lt"/>
          <a:ea typeface="+mn-ea"/>
          <a:cs typeface="+mn-cs"/>
        </a:defRPr>
      </a:lvl1pPr>
      <a:lvl2pPr marL="262475" algn="l" defTabSz="524949" rtl="0" eaLnBrk="1" latinLnBrk="0" hangingPunct="1">
        <a:defRPr sz="1034" kern="1200">
          <a:solidFill>
            <a:schemeClr val="tx1"/>
          </a:solidFill>
          <a:latin typeface="+mn-lt"/>
          <a:ea typeface="+mn-ea"/>
          <a:cs typeface="+mn-cs"/>
        </a:defRPr>
      </a:lvl2pPr>
      <a:lvl3pPr marL="524949" algn="l" defTabSz="524949" rtl="0" eaLnBrk="1" latinLnBrk="0" hangingPunct="1">
        <a:defRPr sz="1034" kern="1200">
          <a:solidFill>
            <a:schemeClr val="tx1"/>
          </a:solidFill>
          <a:latin typeface="+mn-lt"/>
          <a:ea typeface="+mn-ea"/>
          <a:cs typeface="+mn-cs"/>
        </a:defRPr>
      </a:lvl3pPr>
      <a:lvl4pPr marL="787423" algn="l" defTabSz="524949" rtl="0" eaLnBrk="1" latinLnBrk="0" hangingPunct="1">
        <a:defRPr sz="1034" kern="1200">
          <a:solidFill>
            <a:schemeClr val="tx1"/>
          </a:solidFill>
          <a:latin typeface="+mn-lt"/>
          <a:ea typeface="+mn-ea"/>
          <a:cs typeface="+mn-cs"/>
        </a:defRPr>
      </a:lvl4pPr>
      <a:lvl5pPr marL="1049898" algn="l" defTabSz="524949" rtl="0" eaLnBrk="1" latinLnBrk="0" hangingPunct="1">
        <a:defRPr sz="1034" kern="1200">
          <a:solidFill>
            <a:schemeClr val="tx1"/>
          </a:solidFill>
          <a:latin typeface="+mn-lt"/>
          <a:ea typeface="+mn-ea"/>
          <a:cs typeface="+mn-cs"/>
        </a:defRPr>
      </a:lvl5pPr>
      <a:lvl6pPr marL="1312373" algn="l" defTabSz="524949" rtl="0" eaLnBrk="1" latinLnBrk="0" hangingPunct="1">
        <a:defRPr sz="1034" kern="1200">
          <a:solidFill>
            <a:schemeClr val="tx1"/>
          </a:solidFill>
          <a:latin typeface="+mn-lt"/>
          <a:ea typeface="+mn-ea"/>
          <a:cs typeface="+mn-cs"/>
        </a:defRPr>
      </a:lvl6pPr>
      <a:lvl7pPr marL="1574846" algn="l" defTabSz="524949" rtl="0" eaLnBrk="1" latinLnBrk="0" hangingPunct="1">
        <a:defRPr sz="1034" kern="1200">
          <a:solidFill>
            <a:schemeClr val="tx1"/>
          </a:solidFill>
          <a:latin typeface="+mn-lt"/>
          <a:ea typeface="+mn-ea"/>
          <a:cs typeface="+mn-cs"/>
        </a:defRPr>
      </a:lvl7pPr>
      <a:lvl8pPr marL="1837321" algn="l" defTabSz="524949" rtl="0" eaLnBrk="1" latinLnBrk="0" hangingPunct="1">
        <a:defRPr sz="1034" kern="1200">
          <a:solidFill>
            <a:schemeClr val="tx1"/>
          </a:solidFill>
          <a:latin typeface="+mn-lt"/>
          <a:ea typeface="+mn-ea"/>
          <a:cs typeface="+mn-cs"/>
        </a:defRPr>
      </a:lvl8pPr>
      <a:lvl9pPr marL="2099795" algn="l" defTabSz="524949" rtl="0" eaLnBrk="1" latinLnBrk="0" hangingPunct="1">
        <a:defRPr sz="103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36" userDrawn="1">
          <p15:clr>
            <a:srgbClr val="F26B43"/>
          </p15:clr>
        </p15:guide>
        <p15:guide id="2" pos="512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2CF21F-9F46-4A54-B316-106F9D39AD6F}" type="datetime1">
              <a:rPr lang="en-US" altLang="ko-KR" smtClean="0"/>
              <a:pPr/>
              <a:t>2/22/2023</a:t>
            </a:fld>
            <a:endParaRPr lang="ko-KR"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ltLang="ko-KR"/>
              <a:t>Textile Fusion Limited </a:t>
            </a:r>
            <a:endParaRPr lang="ko-KR"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6BC638-39B7-4287-91A7-2A3DDA573295}" type="slidenum">
              <a:rPr lang="ko-KR" altLang="en-US" smtClean="0"/>
              <a:pPr/>
              <a:t>‹#›</a:t>
            </a:fld>
            <a:endParaRPr lang="ko-KR" altLang="en-US"/>
          </a:p>
        </p:txBody>
      </p:sp>
    </p:spTree>
    <p:extLst>
      <p:ext uri="{BB962C8B-B14F-4D97-AF65-F5344CB8AC3E}">
        <p14:creationId xmlns:p14="http://schemas.microsoft.com/office/powerpoint/2010/main" val="2320835872"/>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732"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9BB8FC-1371-4FEA-8122-C53056DD0F90}" type="datetime1">
              <a:rPr lang="en-US" altLang="ko-KR" smtClean="0"/>
              <a:pPr/>
              <a:t>2/22/2023</a:t>
            </a:fld>
            <a:endParaRPr lang="ko-KR"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ltLang="ko-KR"/>
              <a:t>Textile Fusion Limited </a:t>
            </a:r>
            <a:endParaRPr lang="ko-KR"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6BC638-39B7-4287-91A7-2A3DDA573295}" type="slidenum">
              <a:rPr lang="ko-KR" altLang="en-US" smtClean="0"/>
              <a:pPr/>
              <a:t>‹#›</a:t>
            </a:fld>
            <a:endParaRPr lang="ko-KR" altLang="en-US"/>
          </a:p>
        </p:txBody>
      </p:sp>
    </p:spTree>
    <p:extLst>
      <p:ext uri="{BB962C8B-B14F-4D97-AF65-F5344CB8AC3E}">
        <p14:creationId xmlns:p14="http://schemas.microsoft.com/office/powerpoint/2010/main" val="60371292"/>
      </p:ext>
    </p:extLst>
  </p:cSld>
  <p:clrMap bg1="dk1" tx1="lt1" bg2="dk2" tx2="lt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32" r:id="rId12"/>
    <p:sldLayoutId id="2147483686" r:id="rId13"/>
    <p:sldLayoutId id="2147483978" r:id="rId14"/>
    <p:sldLayoutId id="2147483692" r:id="rId15"/>
    <p:sldLayoutId id="2147483693" r:id="rId16"/>
    <p:sldLayoutId id="2147483694" r:id="rId17"/>
    <p:sldLayoutId id="2147483695" r:id="rId18"/>
    <p:sldLayoutId id="2147483697" r:id="rId19"/>
    <p:sldLayoutId id="2147483698" r:id="rId20"/>
    <p:sldLayoutId id="2147483699" r:id="rId2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4CF14B-2803-492F-8958-8EDD28B417D2}" type="datetimeFigureOut">
              <a:rPr lang="en-US" smtClean="0"/>
              <a:pPr/>
              <a:t>2/22/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936822-2815-4A98-B8E1-2BBE0B69F322}" type="slidenum">
              <a:rPr lang="en-US" smtClean="0"/>
              <a:pPr/>
              <a:t>‹#›</a:t>
            </a:fld>
            <a:endParaRPr lang="en-US"/>
          </a:p>
        </p:txBody>
      </p:sp>
    </p:spTree>
    <p:extLst>
      <p:ext uri="{BB962C8B-B14F-4D97-AF65-F5344CB8AC3E}">
        <p14:creationId xmlns:p14="http://schemas.microsoft.com/office/powerpoint/2010/main" val="3323425139"/>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9BB8FC-1371-4FEA-8122-C53056DD0F90}" type="datetime1">
              <a:rPr lang="en-US" altLang="ko-KR" smtClean="0"/>
              <a:pPr/>
              <a:t>2/22/2023</a:t>
            </a:fld>
            <a:endParaRPr lang="ko-KR"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ltLang="ko-KR"/>
              <a:t>Textile Fusion Limited </a:t>
            </a:r>
            <a:endParaRPr lang="ko-KR"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6BC638-39B7-4287-91A7-2A3DDA573295}" type="slidenum">
              <a:rPr lang="ko-KR" altLang="en-US" smtClean="0"/>
              <a:pPr/>
              <a:t>‹#›</a:t>
            </a:fld>
            <a:endParaRPr lang="ko-KR" altLang="en-US"/>
          </a:p>
        </p:txBody>
      </p:sp>
    </p:spTree>
    <p:extLst>
      <p:ext uri="{BB962C8B-B14F-4D97-AF65-F5344CB8AC3E}">
        <p14:creationId xmlns:p14="http://schemas.microsoft.com/office/powerpoint/2010/main" val="1024945205"/>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29"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9BB8FC-1371-4FEA-8122-C53056DD0F90}" type="datetime1">
              <a:rPr lang="en-US" altLang="ko-KR" smtClean="0"/>
              <a:pPr/>
              <a:t>2/22/2023</a:t>
            </a:fld>
            <a:endParaRPr lang="ko-KR"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ltLang="ko-KR"/>
              <a:t>Textile Fusion Limited </a:t>
            </a:r>
            <a:endParaRPr lang="ko-KR"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6BC638-39B7-4287-91A7-2A3DDA573295}" type="slidenum">
              <a:rPr lang="ko-KR" altLang="en-US" smtClean="0"/>
              <a:pPr/>
              <a:t>‹#›</a:t>
            </a:fld>
            <a:endParaRPr lang="ko-KR" altLang="en-US"/>
          </a:p>
        </p:txBody>
      </p:sp>
    </p:spTree>
    <p:extLst>
      <p:ext uri="{BB962C8B-B14F-4D97-AF65-F5344CB8AC3E}">
        <p14:creationId xmlns:p14="http://schemas.microsoft.com/office/powerpoint/2010/main" val="3722681521"/>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31.xml"/><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5.jpeg"/><Relationship Id="rId1" Type="http://schemas.openxmlformats.org/officeDocument/2006/relationships/slideLayout" Target="../slideLayouts/slideLayout64.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87.xml"/></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0.jpeg"/><Relationship Id="rId1" Type="http://schemas.openxmlformats.org/officeDocument/2006/relationships/slideLayout" Target="../slideLayouts/slideLayout5.xml"/><Relationship Id="rId5" Type="http://schemas.microsoft.com/office/2007/relationships/hdphoto" Target="../media/hdphoto6.wdp"/><Relationship Id="rId4" Type="http://schemas.openxmlformats.org/officeDocument/2006/relationships/image" Target="../media/image31.jpeg"/></Relationships>
</file>

<file path=ppt/slides/_rels/slide16.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image" Target="../media/image32.jpeg"/><Relationship Id="rId1" Type="http://schemas.openxmlformats.org/officeDocument/2006/relationships/slideLayout" Target="../slideLayouts/slideLayout5.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tags" Target="../tags/tag27.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hyperlink" Target="mailto:info@apparelmart-bd.com" TargetMode="External"/><Relationship Id="rId2" Type="http://schemas.openxmlformats.org/officeDocument/2006/relationships/hyperlink" Target="mailto:murad@apparelmart-bd.com" TargetMode="External"/><Relationship Id="rId1" Type="http://schemas.openxmlformats.org/officeDocument/2006/relationships/slideLayout" Target="../slideLayouts/slideLayout26.xml"/><Relationship Id="rId4" Type="http://schemas.openxmlformats.org/officeDocument/2006/relationships/hyperlink" Target="http://www.apparelmart-bd.co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31.xml"/><Relationship Id="rId5" Type="http://schemas.openxmlformats.org/officeDocument/2006/relationships/image" Target="../media/image19.jpeg"/><Relationship Id="rId4" Type="http://schemas.microsoft.com/office/2007/relationships/hdphoto" Target="../media/hdphoto3.wdp"/></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43.xml"/><Relationship Id="rId5" Type="http://schemas.openxmlformats.org/officeDocument/2006/relationships/image" Target="../media/image23.jpe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BEBA8EAE-BF5A-486C-A8C5-ECC9F3942E4B}">
                <a14:imgProps xmlns:a14="http://schemas.microsoft.com/office/drawing/2010/main">
                  <a14:imgLayer r:embed="rId4">
                    <a14:imgEffect>
                      <a14:saturation sat="300000"/>
                    </a14:imgEffect>
                    <a14:imgEffect>
                      <a14:brightnessContrast bright="-60000"/>
                    </a14:imgEffect>
                  </a14:imgLayer>
                </a14:imgProps>
              </a:ext>
              <a:ext uri="{28A0092B-C50C-407E-A947-70E740481C1C}">
                <a14:useLocalDpi xmlns:a14="http://schemas.microsoft.com/office/drawing/2010/main" val="0"/>
              </a:ext>
            </a:extLst>
          </a:blip>
          <a:srcRect t="13918" b="31103"/>
          <a:stretch/>
        </p:blipFill>
        <p:spPr>
          <a:xfrm>
            <a:off x="76200" y="0"/>
            <a:ext cx="12108476" cy="3994432"/>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2" name="Oval 1"/>
          <p:cNvSpPr/>
          <p:nvPr/>
        </p:nvSpPr>
        <p:spPr>
          <a:xfrm>
            <a:off x="5504499" y="3428128"/>
            <a:ext cx="1183005" cy="118300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latinLnBrk="0"/>
            <a:endParaRPr lang="en-US" sz="1013">
              <a:solidFill>
                <a:prstClr val="white"/>
              </a:solidFill>
              <a:latin typeface="Calibri" panose="020F0502020204030204"/>
            </a:endParaRPr>
          </a:p>
        </p:txBody>
      </p:sp>
      <p:sp>
        <p:nvSpPr>
          <p:cNvPr id="4" name="Rectangle 3"/>
          <p:cNvSpPr/>
          <p:nvPr/>
        </p:nvSpPr>
        <p:spPr>
          <a:xfrm flipH="1">
            <a:off x="2494431" y="2224919"/>
            <a:ext cx="7195630" cy="830997"/>
          </a:xfrm>
          <a:prstGeom prst="rect">
            <a:avLst/>
          </a:prstGeom>
          <a:noFill/>
        </p:spPr>
        <p:txBody>
          <a:bodyPr wrap="square">
            <a:spAutoFit/>
          </a:bodyPr>
          <a:lstStyle/>
          <a:p>
            <a:pPr algn="ctr" defTabSz="514350" latinLnBrk="0"/>
            <a:r>
              <a:rPr lang="en-US" sz="4800" spc="-169">
                <a:solidFill>
                  <a:srgbClr val="ED7D31"/>
                </a:solidFill>
                <a:latin typeface="Calibri" panose="020F0502020204030204"/>
              </a:rPr>
              <a:t>APPAREL MART BD</a:t>
            </a:r>
            <a:endParaRPr lang="en-US" sz="4800" spc="-169" dirty="0">
              <a:solidFill>
                <a:srgbClr val="ED7D31"/>
              </a:solidFill>
              <a:latin typeface="Calibri" panose="020F0502020204030204"/>
            </a:endParaRPr>
          </a:p>
        </p:txBody>
      </p:sp>
      <p:grpSp>
        <p:nvGrpSpPr>
          <p:cNvPr id="8" name="Group 4"/>
          <p:cNvGrpSpPr>
            <a:grpSpLocks noChangeAspect="1"/>
          </p:cNvGrpSpPr>
          <p:nvPr/>
        </p:nvGrpSpPr>
        <p:grpSpPr bwMode="auto">
          <a:xfrm>
            <a:off x="5703095" y="3626892"/>
            <a:ext cx="784920" cy="783134"/>
            <a:chOff x="3400" y="1913"/>
            <a:chExt cx="879" cy="877"/>
          </a:xfrm>
          <a:solidFill>
            <a:schemeClr val="accent2"/>
          </a:solidFill>
        </p:grpSpPr>
        <p:sp>
          <p:nvSpPr>
            <p:cNvPr id="11" name="Freeform 6"/>
            <p:cNvSpPr>
              <a:spLocks/>
            </p:cNvSpPr>
            <p:nvPr/>
          </p:nvSpPr>
          <p:spPr bwMode="auto">
            <a:xfrm>
              <a:off x="3400" y="1913"/>
              <a:ext cx="879" cy="877"/>
            </a:xfrm>
            <a:custGeom>
              <a:avLst/>
              <a:gdLst>
                <a:gd name="T0" fmla="*/ 1958 w 3518"/>
                <a:gd name="T1" fmla="*/ 11 h 3511"/>
                <a:gd name="T2" fmla="*/ 2342 w 3518"/>
                <a:gd name="T3" fmla="*/ 98 h 3511"/>
                <a:gd name="T4" fmla="*/ 2693 w 3518"/>
                <a:gd name="T5" fmla="*/ 267 h 3511"/>
                <a:gd name="T6" fmla="*/ 3003 w 3518"/>
                <a:gd name="T7" fmla="*/ 514 h 3511"/>
                <a:gd name="T8" fmla="*/ 3250 w 3518"/>
                <a:gd name="T9" fmla="*/ 823 h 3511"/>
                <a:gd name="T10" fmla="*/ 3420 w 3518"/>
                <a:gd name="T11" fmla="*/ 1175 h 3511"/>
                <a:gd name="T12" fmla="*/ 3507 w 3518"/>
                <a:gd name="T13" fmla="*/ 1557 h 3511"/>
                <a:gd name="T14" fmla="*/ 3505 w 3518"/>
                <a:gd name="T15" fmla="*/ 1967 h 3511"/>
                <a:gd name="T16" fmla="*/ 3408 w 3518"/>
                <a:gd name="T17" fmla="*/ 2367 h 3511"/>
                <a:gd name="T18" fmla="*/ 3224 w 3518"/>
                <a:gd name="T19" fmla="*/ 2726 h 3511"/>
                <a:gd name="T20" fmla="*/ 2966 w 3518"/>
                <a:gd name="T21" fmla="*/ 3031 h 3511"/>
                <a:gd name="T22" fmla="*/ 2646 w 3518"/>
                <a:gd name="T23" fmla="*/ 3272 h 3511"/>
                <a:gd name="T24" fmla="*/ 2275 w 3518"/>
                <a:gd name="T25" fmla="*/ 3434 h 3511"/>
                <a:gd name="T26" fmla="*/ 1866 w 3518"/>
                <a:gd name="T27" fmla="*/ 3508 h 3511"/>
                <a:gd name="T28" fmla="*/ 1444 w 3518"/>
                <a:gd name="T29" fmla="*/ 3483 h 3511"/>
                <a:gd name="T30" fmla="*/ 1052 w 3518"/>
                <a:gd name="T31" fmla="*/ 3362 h 3511"/>
                <a:gd name="T32" fmla="*/ 706 w 3518"/>
                <a:gd name="T33" fmla="*/ 3160 h 3511"/>
                <a:gd name="T34" fmla="*/ 415 w 3518"/>
                <a:gd name="T35" fmla="*/ 2886 h 3511"/>
                <a:gd name="T36" fmla="*/ 193 w 3518"/>
                <a:gd name="T37" fmla="*/ 2553 h 3511"/>
                <a:gd name="T38" fmla="*/ 50 w 3518"/>
                <a:gd name="T39" fmla="*/ 2171 h 3511"/>
                <a:gd name="T40" fmla="*/ 0 w 3518"/>
                <a:gd name="T41" fmla="*/ 1756 h 3511"/>
                <a:gd name="T42" fmla="*/ 46 w 3518"/>
                <a:gd name="T43" fmla="*/ 1354 h 3511"/>
                <a:gd name="T44" fmla="*/ 124 w 3518"/>
                <a:gd name="T45" fmla="*/ 1129 h 3511"/>
                <a:gd name="T46" fmla="*/ 195 w 3518"/>
                <a:gd name="T47" fmla="*/ 1116 h 3511"/>
                <a:gd name="T48" fmla="*/ 241 w 3518"/>
                <a:gd name="T49" fmla="*/ 1171 h 3511"/>
                <a:gd name="T50" fmla="*/ 185 w 3518"/>
                <a:gd name="T51" fmla="*/ 1386 h 3511"/>
                <a:gd name="T52" fmla="*/ 144 w 3518"/>
                <a:gd name="T53" fmla="*/ 1756 h 3511"/>
                <a:gd name="T54" fmla="*/ 197 w 3518"/>
                <a:gd name="T55" fmla="*/ 2167 h 3511"/>
                <a:gd name="T56" fmla="*/ 348 w 3518"/>
                <a:gd name="T57" fmla="*/ 2540 h 3511"/>
                <a:gd name="T58" fmla="*/ 583 w 3518"/>
                <a:gd name="T59" fmla="*/ 2860 h 3511"/>
                <a:gd name="T60" fmla="*/ 888 w 3518"/>
                <a:gd name="T61" fmla="*/ 3113 h 3511"/>
                <a:gd name="T62" fmla="*/ 1249 w 3518"/>
                <a:gd name="T63" fmla="*/ 3285 h 3511"/>
                <a:gd name="T64" fmla="*/ 1653 w 3518"/>
                <a:gd name="T65" fmla="*/ 3365 h 3511"/>
                <a:gd name="T66" fmla="*/ 2072 w 3518"/>
                <a:gd name="T67" fmla="*/ 3338 h 3511"/>
                <a:gd name="T68" fmla="*/ 2456 w 3518"/>
                <a:gd name="T69" fmla="*/ 3211 h 3511"/>
                <a:gd name="T70" fmla="*/ 2792 w 3518"/>
                <a:gd name="T71" fmla="*/ 2996 h 3511"/>
                <a:gd name="T72" fmla="*/ 3063 w 3518"/>
                <a:gd name="T73" fmla="*/ 2707 h 3511"/>
                <a:gd name="T74" fmla="*/ 3258 w 3518"/>
                <a:gd name="T75" fmla="*/ 2360 h 3511"/>
                <a:gd name="T76" fmla="*/ 3361 w 3518"/>
                <a:gd name="T77" fmla="*/ 1965 h 3511"/>
                <a:gd name="T78" fmla="*/ 3361 w 3518"/>
                <a:gd name="T79" fmla="*/ 1546 h 3511"/>
                <a:gd name="T80" fmla="*/ 3258 w 3518"/>
                <a:gd name="T81" fmla="*/ 1153 h 3511"/>
                <a:gd name="T82" fmla="*/ 3063 w 3518"/>
                <a:gd name="T83" fmla="*/ 805 h 3511"/>
                <a:gd name="T84" fmla="*/ 2792 w 3518"/>
                <a:gd name="T85" fmla="*/ 517 h 3511"/>
                <a:gd name="T86" fmla="*/ 2456 w 3518"/>
                <a:gd name="T87" fmla="*/ 302 h 3511"/>
                <a:gd name="T88" fmla="*/ 2072 w 3518"/>
                <a:gd name="T89" fmla="*/ 173 h 3511"/>
                <a:gd name="T90" fmla="*/ 1757 w 3518"/>
                <a:gd name="T91" fmla="*/ 142 h 3511"/>
                <a:gd name="T92" fmla="*/ 1388 w 3518"/>
                <a:gd name="T93" fmla="*/ 185 h 3511"/>
                <a:gd name="T94" fmla="*/ 1041 w 3518"/>
                <a:gd name="T95" fmla="*/ 309 h 3511"/>
                <a:gd name="T96" fmla="*/ 731 w 3518"/>
                <a:gd name="T97" fmla="*/ 510 h 3511"/>
                <a:gd name="T98" fmla="*/ 661 w 3518"/>
                <a:gd name="T99" fmla="*/ 522 h 3511"/>
                <a:gd name="T100" fmla="*/ 615 w 3518"/>
                <a:gd name="T101" fmla="*/ 466 h 3511"/>
                <a:gd name="T102" fmla="*/ 640 w 3518"/>
                <a:gd name="T103" fmla="*/ 400 h 3511"/>
                <a:gd name="T104" fmla="*/ 978 w 3518"/>
                <a:gd name="T105" fmla="*/ 181 h 3511"/>
                <a:gd name="T106" fmla="*/ 1355 w 3518"/>
                <a:gd name="T107" fmla="*/ 46 h 3511"/>
                <a:gd name="T108" fmla="*/ 1757 w 3518"/>
                <a:gd name="T109" fmla="*/ 0 h 3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3511">
                  <a:moveTo>
                    <a:pt x="1757" y="0"/>
                  </a:moveTo>
                  <a:lnTo>
                    <a:pt x="1759" y="0"/>
                  </a:lnTo>
                  <a:lnTo>
                    <a:pt x="1860" y="2"/>
                  </a:lnTo>
                  <a:lnTo>
                    <a:pt x="1958" y="11"/>
                  </a:lnTo>
                  <a:lnTo>
                    <a:pt x="2057" y="25"/>
                  </a:lnTo>
                  <a:lnTo>
                    <a:pt x="2153" y="44"/>
                  </a:lnTo>
                  <a:lnTo>
                    <a:pt x="2248" y="69"/>
                  </a:lnTo>
                  <a:lnTo>
                    <a:pt x="2342" y="98"/>
                  </a:lnTo>
                  <a:lnTo>
                    <a:pt x="2433" y="134"/>
                  </a:lnTo>
                  <a:lnTo>
                    <a:pt x="2522" y="173"/>
                  </a:lnTo>
                  <a:lnTo>
                    <a:pt x="2608" y="218"/>
                  </a:lnTo>
                  <a:lnTo>
                    <a:pt x="2693" y="267"/>
                  </a:lnTo>
                  <a:lnTo>
                    <a:pt x="2776" y="323"/>
                  </a:lnTo>
                  <a:lnTo>
                    <a:pt x="2854" y="382"/>
                  </a:lnTo>
                  <a:lnTo>
                    <a:pt x="2930" y="446"/>
                  </a:lnTo>
                  <a:lnTo>
                    <a:pt x="3003" y="514"/>
                  </a:lnTo>
                  <a:lnTo>
                    <a:pt x="3072" y="587"/>
                  </a:lnTo>
                  <a:lnTo>
                    <a:pt x="3137" y="663"/>
                  </a:lnTo>
                  <a:lnTo>
                    <a:pt x="3195" y="742"/>
                  </a:lnTo>
                  <a:lnTo>
                    <a:pt x="3250" y="823"/>
                  </a:lnTo>
                  <a:lnTo>
                    <a:pt x="3300" y="908"/>
                  </a:lnTo>
                  <a:lnTo>
                    <a:pt x="3345" y="994"/>
                  </a:lnTo>
                  <a:lnTo>
                    <a:pt x="3385" y="1083"/>
                  </a:lnTo>
                  <a:lnTo>
                    <a:pt x="3420" y="1175"/>
                  </a:lnTo>
                  <a:lnTo>
                    <a:pt x="3449" y="1268"/>
                  </a:lnTo>
                  <a:lnTo>
                    <a:pt x="3474" y="1362"/>
                  </a:lnTo>
                  <a:lnTo>
                    <a:pt x="3493" y="1458"/>
                  </a:lnTo>
                  <a:lnTo>
                    <a:pt x="3507" y="1557"/>
                  </a:lnTo>
                  <a:lnTo>
                    <a:pt x="3516" y="1655"/>
                  </a:lnTo>
                  <a:lnTo>
                    <a:pt x="3518" y="1756"/>
                  </a:lnTo>
                  <a:lnTo>
                    <a:pt x="3515" y="1862"/>
                  </a:lnTo>
                  <a:lnTo>
                    <a:pt x="3505" y="1967"/>
                  </a:lnTo>
                  <a:lnTo>
                    <a:pt x="3490" y="2071"/>
                  </a:lnTo>
                  <a:lnTo>
                    <a:pt x="3469" y="2171"/>
                  </a:lnTo>
                  <a:lnTo>
                    <a:pt x="3441" y="2271"/>
                  </a:lnTo>
                  <a:lnTo>
                    <a:pt x="3408" y="2367"/>
                  </a:lnTo>
                  <a:lnTo>
                    <a:pt x="3370" y="2461"/>
                  </a:lnTo>
                  <a:lnTo>
                    <a:pt x="3326" y="2553"/>
                  </a:lnTo>
                  <a:lnTo>
                    <a:pt x="3278" y="2641"/>
                  </a:lnTo>
                  <a:lnTo>
                    <a:pt x="3224" y="2726"/>
                  </a:lnTo>
                  <a:lnTo>
                    <a:pt x="3167" y="2808"/>
                  </a:lnTo>
                  <a:lnTo>
                    <a:pt x="3104" y="2886"/>
                  </a:lnTo>
                  <a:lnTo>
                    <a:pt x="3037" y="2960"/>
                  </a:lnTo>
                  <a:lnTo>
                    <a:pt x="2966" y="3031"/>
                  </a:lnTo>
                  <a:lnTo>
                    <a:pt x="2892" y="3097"/>
                  </a:lnTo>
                  <a:lnTo>
                    <a:pt x="2813" y="3160"/>
                  </a:lnTo>
                  <a:lnTo>
                    <a:pt x="2732" y="3218"/>
                  </a:lnTo>
                  <a:lnTo>
                    <a:pt x="2646" y="3272"/>
                  </a:lnTo>
                  <a:lnTo>
                    <a:pt x="2558" y="3320"/>
                  </a:lnTo>
                  <a:lnTo>
                    <a:pt x="2466" y="3362"/>
                  </a:lnTo>
                  <a:lnTo>
                    <a:pt x="2373" y="3401"/>
                  </a:lnTo>
                  <a:lnTo>
                    <a:pt x="2275" y="3434"/>
                  </a:lnTo>
                  <a:lnTo>
                    <a:pt x="2177" y="3461"/>
                  </a:lnTo>
                  <a:lnTo>
                    <a:pt x="2075" y="3483"/>
                  </a:lnTo>
                  <a:lnTo>
                    <a:pt x="1971" y="3498"/>
                  </a:lnTo>
                  <a:lnTo>
                    <a:pt x="1866" y="3508"/>
                  </a:lnTo>
                  <a:lnTo>
                    <a:pt x="1759" y="3511"/>
                  </a:lnTo>
                  <a:lnTo>
                    <a:pt x="1652" y="3508"/>
                  </a:lnTo>
                  <a:lnTo>
                    <a:pt x="1547" y="3498"/>
                  </a:lnTo>
                  <a:lnTo>
                    <a:pt x="1444" y="3483"/>
                  </a:lnTo>
                  <a:lnTo>
                    <a:pt x="1342" y="3461"/>
                  </a:lnTo>
                  <a:lnTo>
                    <a:pt x="1243" y="3434"/>
                  </a:lnTo>
                  <a:lnTo>
                    <a:pt x="1146" y="3401"/>
                  </a:lnTo>
                  <a:lnTo>
                    <a:pt x="1052" y="3362"/>
                  </a:lnTo>
                  <a:lnTo>
                    <a:pt x="961" y="3320"/>
                  </a:lnTo>
                  <a:lnTo>
                    <a:pt x="873" y="3272"/>
                  </a:lnTo>
                  <a:lnTo>
                    <a:pt x="787" y="3218"/>
                  </a:lnTo>
                  <a:lnTo>
                    <a:pt x="706" y="3160"/>
                  </a:lnTo>
                  <a:lnTo>
                    <a:pt x="627" y="3097"/>
                  </a:lnTo>
                  <a:lnTo>
                    <a:pt x="553" y="3031"/>
                  </a:lnTo>
                  <a:lnTo>
                    <a:pt x="482" y="2960"/>
                  </a:lnTo>
                  <a:lnTo>
                    <a:pt x="415" y="2886"/>
                  </a:lnTo>
                  <a:lnTo>
                    <a:pt x="352" y="2808"/>
                  </a:lnTo>
                  <a:lnTo>
                    <a:pt x="295" y="2726"/>
                  </a:lnTo>
                  <a:lnTo>
                    <a:pt x="241" y="2641"/>
                  </a:lnTo>
                  <a:lnTo>
                    <a:pt x="193" y="2553"/>
                  </a:lnTo>
                  <a:lnTo>
                    <a:pt x="149" y="2461"/>
                  </a:lnTo>
                  <a:lnTo>
                    <a:pt x="110" y="2367"/>
                  </a:lnTo>
                  <a:lnTo>
                    <a:pt x="78" y="2271"/>
                  </a:lnTo>
                  <a:lnTo>
                    <a:pt x="50" y="2171"/>
                  </a:lnTo>
                  <a:lnTo>
                    <a:pt x="29" y="2071"/>
                  </a:lnTo>
                  <a:lnTo>
                    <a:pt x="13" y="1967"/>
                  </a:lnTo>
                  <a:lnTo>
                    <a:pt x="3" y="1862"/>
                  </a:lnTo>
                  <a:lnTo>
                    <a:pt x="0" y="1756"/>
                  </a:lnTo>
                  <a:lnTo>
                    <a:pt x="3" y="1654"/>
                  </a:lnTo>
                  <a:lnTo>
                    <a:pt x="12" y="1552"/>
                  </a:lnTo>
                  <a:lnTo>
                    <a:pt x="26" y="1452"/>
                  </a:lnTo>
                  <a:lnTo>
                    <a:pt x="46" y="1354"/>
                  </a:lnTo>
                  <a:lnTo>
                    <a:pt x="72" y="1256"/>
                  </a:lnTo>
                  <a:lnTo>
                    <a:pt x="103" y="1160"/>
                  </a:lnTo>
                  <a:lnTo>
                    <a:pt x="111" y="1143"/>
                  </a:lnTo>
                  <a:lnTo>
                    <a:pt x="124" y="1129"/>
                  </a:lnTo>
                  <a:lnTo>
                    <a:pt x="140" y="1119"/>
                  </a:lnTo>
                  <a:lnTo>
                    <a:pt x="157" y="1114"/>
                  </a:lnTo>
                  <a:lnTo>
                    <a:pt x="176" y="1113"/>
                  </a:lnTo>
                  <a:lnTo>
                    <a:pt x="195" y="1116"/>
                  </a:lnTo>
                  <a:lnTo>
                    <a:pt x="212" y="1126"/>
                  </a:lnTo>
                  <a:lnTo>
                    <a:pt x="225" y="1138"/>
                  </a:lnTo>
                  <a:lnTo>
                    <a:pt x="236" y="1154"/>
                  </a:lnTo>
                  <a:lnTo>
                    <a:pt x="241" y="1171"/>
                  </a:lnTo>
                  <a:lnTo>
                    <a:pt x="242" y="1189"/>
                  </a:lnTo>
                  <a:lnTo>
                    <a:pt x="238" y="1208"/>
                  </a:lnTo>
                  <a:lnTo>
                    <a:pt x="209" y="1296"/>
                  </a:lnTo>
                  <a:lnTo>
                    <a:pt x="185" y="1386"/>
                  </a:lnTo>
                  <a:lnTo>
                    <a:pt x="167" y="1477"/>
                  </a:lnTo>
                  <a:lnTo>
                    <a:pt x="153" y="1568"/>
                  </a:lnTo>
                  <a:lnTo>
                    <a:pt x="146" y="1662"/>
                  </a:lnTo>
                  <a:lnTo>
                    <a:pt x="144" y="1756"/>
                  </a:lnTo>
                  <a:lnTo>
                    <a:pt x="147" y="1861"/>
                  </a:lnTo>
                  <a:lnTo>
                    <a:pt x="157" y="1965"/>
                  </a:lnTo>
                  <a:lnTo>
                    <a:pt x="174" y="2068"/>
                  </a:lnTo>
                  <a:lnTo>
                    <a:pt x="197" y="2167"/>
                  </a:lnTo>
                  <a:lnTo>
                    <a:pt x="226" y="2264"/>
                  </a:lnTo>
                  <a:lnTo>
                    <a:pt x="261" y="2360"/>
                  </a:lnTo>
                  <a:lnTo>
                    <a:pt x="302" y="2452"/>
                  </a:lnTo>
                  <a:lnTo>
                    <a:pt x="348" y="2540"/>
                  </a:lnTo>
                  <a:lnTo>
                    <a:pt x="400" y="2626"/>
                  </a:lnTo>
                  <a:lnTo>
                    <a:pt x="456" y="2707"/>
                  </a:lnTo>
                  <a:lnTo>
                    <a:pt x="517" y="2785"/>
                  </a:lnTo>
                  <a:lnTo>
                    <a:pt x="583" y="2860"/>
                  </a:lnTo>
                  <a:lnTo>
                    <a:pt x="653" y="2929"/>
                  </a:lnTo>
                  <a:lnTo>
                    <a:pt x="727" y="2996"/>
                  </a:lnTo>
                  <a:lnTo>
                    <a:pt x="806" y="3057"/>
                  </a:lnTo>
                  <a:lnTo>
                    <a:pt x="888" y="3113"/>
                  </a:lnTo>
                  <a:lnTo>
                    <a:pt x="974" y="3165"/>
                  </a:lnTo>
                  <a:lnTo>
                    <a:pt x="1063" y="3211"/>
                  </a:lnTo>
                  <a:lnTo>
                    <a:pt x="1155" y="3251"/>
                  </a:lnTo>
                  <a:lnTo>
                    <a:pt x="1249" y="3285"/>
                  </a:lnTo>
                  <a:lnTo>
                    <a:pt x="1347" y="3315"/>
                  </a:lnTo>
                  <a:lnTo>
                    <a:pt x="1447" y="3338"/>
                  </a:lnTo>
                  <a:lnTo>
                    <a:pt x="1549" y="3355"/>
                  </a:lnTo>
                  <a:lnTo>
                    <a:pt x="1653" y="3365"/>
                  </a:lnTo>
                  <a:lnTo>
                    <a:pt x="1759" y="3368"/>
                  </a:lnTo>
                  <a:lnTo>
                    <a:pt x="1865" y="3365"/>
                  </a:lnTo>
                  <a:lnTo>
                    <a:pt x="1970" y="3355"/>
                  </a:lnTo>
                  <a:lnTo>
                    <a:pt x="2072" y="3338"/>
                  </a:lnTo>
                  <a:lnTo>
                    <a:pt x="2171" y="3315"/>
                  </a:lnTo>
                  <a:lnTo>
                    <a:pt x="2269" y="3285"/>
                  </a:lnTo>
                  <a:lnTo>
                    <a:pt x="2364" y="3251"/>
                  </a:lnTo>
                  <a:lnTo>
                    <a:pt x="2456" y="3211"/>
                  </a:lnTo>
                  <a:lnTo>
                    <a:pt x="2545" y="3165"/>
                  </a:lnTo>
                  <a:lnTo>
                    <a:pt x="2631" y="3113"/>
                  </a:lnTo>
                  <a:lnTo>
                    <a:pt x="2712" y="3057"/>
                  </a:lnTo>
                  <a:lnTo>
                    <a:pt x="2792" y="2996"/>
                  </a:lnTo>
                  <a:lnTo>
                    <a:pt x="2865" y="2929"/>
                  </a:lnTo>
                  <a:lnTo>
                    <a:pt x="2936" y="2860"/>
                  </a:lnTo>
                  <a:lnTo>
                    <a:pt x="3002" y="2785"/>
                  </a:lnTo>
                  <a:lnTo>
                    <a:pt x="3063" y="2707"/>
                  </a:lnTo>
                  <a:lnTo>
                    <a:pt x="3119" y="2626"/>
                  </a:lnTo>
                  <a:lnTo>
                    <a:pt x="3171" y="2540"/>
                  </a:lnTo>
                  <a:lnTo>
                    <a:pt x="3217" y="2452"/>
                  </a:lnTo>
                  <a:lnTo>
                    <a:pt x="3258" y="2360"/>
                  </a:lnTo>
                  <a:lnTo>
                    <a:pt x="3293" y="2264"/>
                  </a:lnTo>
                  <a:lnTo>
                    <a:pt x="3322" y="2167"/>
                  </a:lnTo>
                  <a:lnTo>
                    <a:pt x="3344" y="2068"/>
                  </a:lnTo>
                  <a:lnTo>
                    <a:pt x="3361" y="1965"/>
                  </a:lnTo>
                  <a:lnTo>
                    <a:pt x="3371" y="1861"/>
                  </a:lnTo>
                  <a:lnTo>
                    <a:pt x="3375" y="1756"/>
                  </a:lnTo>
                  <a:lnTo>
                    <a:pt x="3371" y="1650"/>
                  </a:lnTo>
                  <a:lnTo>
                    <a:pt x="3361" y="1546"/>
                  </a:lnTo>
                  <a:lnTo>
                    <a:pt x="3344" y="1443"/>
                  </a:lnTo>
                  <a:lnTo>
                    <a:pt x="3322" y="1344"/>
                  </a:lnTo>
                  <a:lnTo>
                    <a:pt x="3293" y="1247"/>
                  </a:lnTo>
                  <a:lnTo>
                    <a:pt x="3258" y="1153"/>
                  </a:lnTo>
                  <a:lnTo>
                    <a:pt x="3217" y="1061"/>
                  </a:lnTo>
                  <a:lnTo>
                    <a:pt x="3171" y="972"/>
                  </a:lnTo>
                  <a:lnTo>
                    <a:pt x="3119" y="886"/>
                  </a:lnTo>
                  <a:lnTo>
                    <a:pt x="3063" y="805"/>
                  </a:lnTo>
                  <a:lnTo>
                    <a:pt x="3002" y="726"/>
                  </a:lnTo>
                  <a:lnTo>
                    <a:pt x="2936" y="652"/>
                  </a:lnTo>
                  <a:lnTo>
                    <a:pt x="2865" y="582"/>
                  </a:lnTo>
                  <a:lnTo>
                    <a:pt x="2792" y="517"/>
                  </a:lnTo>
                  <a:lnTo>
                    <a:pt x="2712" y="456"/>
                  </a:lnTo>
                  <a:lnTo>
                    <a:pt x="2631" y="399"/>
                  </a:lnTo>
                  <a:lnTo>
                    <a:pt x="2545" y="348"/>
                  </a:lnTo>
                  <a:lnTo>
                    <a:pt x="2456" y="302"/>
                  </a:lnTo>
                  <a:lnTo>
                    <a:pt x="2364" y="261"/>
                  </a:lnTo>
                  <a:lnTo>
                    <a:pt x="2269" y="226"/>
                  </a:lnTo>
                  <a:lnTo>
                    <a:pt x="2171" y="197"/>
                  </a:lnTo>
                  <a:lnTo>
                    <a:pt x="2072" y="173"/>
                  </a:lnTo>
                  <a:lnTo>
                    <a:pt x="1969" y="156"/>
                  </a:lnTo>
                  <a:lnTo>
                    <a:pt x="1865" y="147"/>
                  </a:lnTo>
                  <a:lnTo>
                    <a:pt x="1759" y="142"/>
                  </a:lnTo>
                  <a:lnTo>
                    <a:pt x="1757" y="142"/>
                  </a:lnTo>
                  <a:lnTo>
                    <a:pt x="1664" y="146"/>
                  </a:lnTo>
                  <a:lnTo>
                    <a:pt x="1570" y="153"/>
                  </a:lnTo>
                  <a:lnTo>
                    <a:pt x="1479" y="167"/>
                  </a:lnTo>
                  <a:lnTo>
                    <a:pt x="1388" y="185"/>
                  </a:lnTo>
                  <a:lnTo>
                    <a:pt x="1299" y="209"/>
                  </a:lnTo>
                  <a:lnTo>
                    <a:pt x="1212" y="237"/>
                  </a:lnTo>
                  <a:lnTo>
                    <a:pt x="1125" y="271"/>
                  </a:lnTo>
                  <a:lnTo>
                    <a:pt x="1041" y="309"/>
                  </a:lnTo>
                  <a:lnTo>
                    <a:pt x="960" y="353"/>
                  </a:lnTo>
                  <a:lnTo>
                    <a:pt x="881" y="400"/>
                  </a:lnTo>
                  <a:lnTo>
                    <a:pt x="804" y="452"/>
                  </a:lnTo>
                  <a:lnTo>
                    <a:pt x="731" y="510"/>
                  </a:lnTo>
                  <a:lnTo>
                    <a:pt x="714" y="520"/>
                  </a:lnTo>
                  <a:lnTo>
                    <a:pt x="696" y="525"/>
                  </a:lnTo>
                  <a:lnTo>
                    <a:pt x="678" y="526"/>
                  </a:lnTo>
                  <a:lnTo>
                    <a:pt x="661" y="522"/>
                  </a:lnTo>
                  <a:lnTo>
                    <a:pt x="644" y="513"/>
                  </a:lnTo>
                  <a:lnTo>
                    <a:pt x="630" y="500"/>
                  </a:lnTo>
                  <a:lnTo>
                    <a:pt x="620" y="483"/>
                  </a:lnTo>
                  <a:lnTo>
                    <a:pt x="615" y="466"/>
                  </a:lnTo>
                  <a:lnTo>
                    <a:pt x="614" y="448"/>
                  </a:lnTo>
                  <a:lnTo>
                    <a:pt x="618" y="430"/>
                  </a:lnTo>
                  <a:lnTo>
                    <a:pt x="627" y="414"/>
                  </a:lnTo>
                  <a:lnTo>
                    <a:pt x="640" y="400"/>
                  </a:lnTo>
                  <a:lnTo>
                    <a:pt x="720" y="338"/>
                  </a:lnTo>
                  <a:lnTo>
                    <a:pt x="802" y="280"/>
                  </a:lnTo>
                  <a:lnTo>
                    <a:pt x="889" y="228"/>
                  </a:lnTo>
                  <a:lnTo>
                    <a:pt x="978" y="181"/>
                  </a:lnTo>
                  <a:lnTo>
                    <a:pt x="1069" y="139"/>
                  </a:lnTo>
                  <a:lnTo>
                    <a:pt x="1162" y="103"/>
                  </a:lnTo>
                  <a:lnTo>
                    <a:pt x="1259" y="72"/>
                  </a:lnTo>
                  <a:lnTo>
                    <a:pt x="1355" y="46"/>
                  </a:lnTo>
                  <a:lnTo>
                    <a:pt x="1455" y="26"/>
                  </a:lnTo>
                  <a:lnTo>
                    <a:pt x="1554" y="12"/>
                  </a:lnTo>
                  <a:lnTo>
                    <a:pt x="1655" y="3"/>
                  </a:lnTo>
                  <a:lnTo>
                    <a:pt x="1757"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Calibri" panose="020F0502020204030204"/>
              </a:endParaRPr>
            </a:p>
          </p:txBody>
        </p:sp>
        <p:sp>
          <p:nvSpPr>
            <p:cNvPr id="12" name="Freeform 7"/>
            <p:cNvSpPr>
              <a:spLocks/>
            </p:cNvSpPr>
            <p:nvPr/>
          </p:nvSpPr>
          <p:spPr bwMode="auto">
            <a:xfrm>
              <a:off x="3514" y="2026"/>
              <a:ext cx="652" cy="651"/>
            </a:xfrm>
            <a:custGeom>
              <a:avLst/>
              <a:gdLst>
                <a:gd name="T0" fmla="*/ 1570 w 2610"/>
                <a:gd name="T1" fmla="*/ 27 h 2605"/>
                <a:gd name="T2" fmla="*/ 1839 w 2610"/>
                <a:gd name="T3" fmla="*/ 117 h 2605"/>
                <a:gd name="T4" fmla="*/ 1865 w 2610"/>
                <a:gd name="T5" fmla="*/ 182 h 2605"/>
                <a:gd name="T6" fmla="*/ 1820 w 2610"/>
                <a:gd name="T7" fmla="*/ 239 h 2605"/>
                <a:gd name="T8" fmla="*/ 1691 w 2610"/>
                <a:gd name="T9" fmla="*/ 208 h 2605"/>
                <a:gd name="T10" fmla="*/ 1377 w 2610"/>
                <a:gd name="T11" fmla="*/ 145 h 2605"/>
                <a:gd name="T12" fmla="*/ 1355 w 2610"/>
                <a:gd name="T13" fmla="*/ 383 h 2605"/>
                <a:gd name="T14" fmla="*/ 1286 w 2610"/>
                <a:gd name="T15" fmla="*/ 401 h 2605"/>
                <a:gd name="T16" fmla="*/ 1236 w 2610"/>
                <a:gd name="T17" fmla="*/ 352 h 2605"/>
                <a:gd name="T18" fmla="*/ 1062 w 2610"/>
                <a:gd name="T19" fmla="*/ 168 h 2605"/>
                <a:gd name="T20" fmla="*/ 748 w 2610"/>
                <a:gd name="T21" fmla="*/ 285 h 2605"/>
                <a:gd name="T22" fmla="*/ 484 w 2610"/>
                <a:gd name="T23" fmla="*/ 483 h 2605"/>
                <a:gd name="T24" fmla="*/ 286 w 2610"/>
                <a:gd name="T25" fmla="*/ 747 h 2605"/>
                <a:gd name="T26" fmla="*/ 168 w 2610"/>
                <a:gd name="T27" fmla="*/ 1060 h 2605"/>
                <a:gd name="T28" fmla="*/ 353 w 2610"/>
                <a:gd name="T29" fmla="*/ 1233 h 2605"/>
                <a:gd name="T30" fmla="*/ 403 w 2610"/>
                <a:gd name="T31" fmla="*/ 1283 h 2605"/>
                <a:gd name="T32" fmla="*/ 384 w 2610"/>
                <a:gd name="T33" fmla="*/ 1353 h 2605"/>
                <a:gd name="T34" fmla="*/ 146 w 2610"/>
                <a:gd name="T35" fmla="*/ 1374 h 2605"/>
                <a:gd name="T36" fmla="*/ 217 w 2610"/>
                <a:gd name="T37" fmla="*/ 1707 h 2605"/>
                <a:gd name="T38" fmla="*/ 376 w 2610"/>
                <a:gd name="T39" fmla="*/ 1997 h 2605"/>
                <a:gd name="T40" fmla="*/ 609 w 2610"/>
                <a:gd name="T41" fmla="*/ 2229 h 2605"/>
                <a:gd name="T42" fmla="*/ 900 w 2610"/>
                <a:gd name="T43" fmla="*/ 2389 h 2605"/>
                <a:gd name="T44" fmla="*/ 1233 w 2610"/>
                <a:gd name="T45" fmla="*/ 2459 h 2605"/>
                <a:gd name="T46" fmla="*/ 1255 w 2610"/>
                <a:gd name="T47" fmla="*/ 2222 h 2605"/>
                <a:gd name="T48" fmla="*/ 1324 w 2610"/>
                <a:gd name="T49" fmla="*/ 2203 h 2605"/>
                <a:gd name="T50" fmla="*/ 1375 w 2610"/>
                <a:gd name="T51" fmla="*/ 2253 h 2605"/>
                <a:gd name="T52" fmla="*/ 1548 w 2610"/>
                <a:gd name="T53" fmla="*/ 2437 h 2605"/>
                <a:gd name="T54" fmla="*/ 1862 w 2610"/>
                <a:gd name="T55" fmla="*/ 2319 h 2605"/>
                <a:gd name="T56" fmla="*/ 2127 w 2610"/>
                <a:gd name="T57" fmla="*/ 2122 h 2605"/>
                <a:gd name="T58" fmla="*/ 2325 w 2610"/>
                <a:gd name="T59" fmla="*/ 1859 h 2605"/>
                <a:gd name="T60" fmla="*/ 2441 w 2610"/>
                <a:gd name="T61" fmla="*/ 1545 h 2605"/>
                <a:gd name="T62" fmla="*/ 2257 w 2610"/>
                <a:gd name="T63" fmla="*/ 1371 h 2605"/>
                <a:gd name="T64" fmla="*/ 2208 w 2610"/>
                <a:gd name="T65" fmla="*/ 1322 h 2605"/>
                <a:gd name="T66" fmla="*/ 2226 w 2610"/>
                <a:gd name="T67" fmla="*/ 1252 h 2605"/>
                <a:gd name="T68" fmla="*/ 2539 w 2610"/>
                <a:gd name="T69" fmla="*/ 1231 h 2605"/>
                <a:gd name="T70" fmla="*/ 2600 w 2610"/>
                <a:gd name="T71" fmla="*/ 1266 h 2605"/>
                <a:gd name="T72" fmla="*/ 2597 w 2610"/>
                <a:gd name="T73" fmla="*/ 1486 h 2605"/>
                <a:gd name="T74" fmla="*/ 2498 w 2610"/>
                <a:gd name="T75" fmla="*/ 1830 h 2605"/>
                <a:gd name="T76" fmla="*/ 2315 w 2610"/>
                <a:gd name="T77" fmla="*/ 2126 h 2605"/>
                <a:gd name="T78" fmla="*/ 2061 w 2610"/>
                <a:gd name="T79" fmla="*/ 2363 h 2605"/>
                <a:gd name="T80" fmla="*/ 1751 w 2610"/>
                <a:gd name="T81" fmla="*/ 2527 h 2605"/>
                <a:gd name="T82" fmla="*/ 1398 w 2610"/>
                <a:gd name="T83" fmla="*/ 2602 h 2605"/>
                <a:gd name="T84" fmla="*/ 1032 w 2610"/>
                <a:gd name="T85" fmla="*/ 2576 h 2605"/>
                <a:gd name="T86" fmla="*/ 698 w 2610"/>
                <a:gd name="T87" fmla="*/ 2455 h 2605"/>
                <a:gd name="T88" fmla="*/ 414 w 2610"/>
                <a:gd name="T89" fmla="*/ 2253 h 2605"/>
                <a:gd name="T90" fmla="*/ 193 w 2610"/>
                <a:gd name="T91" fmla="*/ 1985 h 2605"/>
                <a:gd name="T92" fmla="*/ 51 w 2610"/>
                <a:gd name="T93" fmla="*/ 1663 h 2605"/>
                <a:gd name="T94" fmla="*/ 0 w 2610"/>
                <a:gd name="T95" fmla="*/ 1303 h 2605"/>
                <a:gd name="T96" fmla="*/ 51 w 2610"/>
                <a:gd name="T97" fmla="*/ 942 h 2605"/>
                <a:gd name="T98" fmla="*/ 193 w 2610"/>
                <a:gd name="T99" fmla="*/ 621 h 2605"/>
                <a:gd name="T100" fmla="*/ 414 w 2610"/>
                <a:gd name="T101" fmla="*/ 352 h 2605"/>
                <a:gd name="T102" fmla="*/ 698 w 2610"/>
                <a:gd name="T103" fmla="*/ 150 h 2605"/>
                <a:gd name="T104" fmla="*/ 1032 w 2610"/>
                <a:gd name="T105" fmla="*/ 29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10" h="2605">
                  <a:moveTo>
                    <a:pt x="1305" y="0"/>
                  </a:moveTo>
                  <a:lnTo>
                    <a:pt x="1395" y="3"/>
                  </a:lnTo>
                  <a:lnTo>
                    <a:pt x="1483" y="12"/>
                  </a:lnTo>
                  <a:lnTo>
                    <a:pt x="1570" y="27"/>
                  </a:lnTo>
                  <a:lnTo>
                    <a:pt x="1655" y="47"/>
                  </a:lnTo>
                  <a:lnTo>
                    <a:pt x="1740" y="74"/>
                  </a:lnTo>
                  <a:lnTo>
                    <a:pt x="1822" y="106"/>
                  </a:lnTo>
                  <a:lnTo>
                    <a:pt x="1839" y="117"/>
                  </a:lnTo>
                  <a:lnTo>
                    <a:pt x="1852" y="130"/>
                  </a:lnTo>
                  <a:lnTo>
                    <a:pt x="1861" y="146"/>
                  </a:lnTo>
                  <a:lnTo>
                    <a:pt x="1865" y="164"/>
                  </a:lnTo>
                  <a:lnTo>
                    <a:pt x="1865" y="182"/>
                  </a:lnTo>
                  <a:lnTo>
                    <a:pt x="1860" y="200"/>
                  </a:lnTo>
                  <a:lnTo>
                    <a:pt x="1850" y="217"/>
                  </a:lnTo>
                  <a:lnTo>
                    <a:pt x="1836" y="229"/>
                  </a:lnTo>
                  <a:lnTo>
                    <a:pt x="1820" y="239"/>
                  </a:lnTo>
                  <a:lnTo>
                    <a:pt x="1803" y="243"/>
                  </a:lnTo>
                  <a:lnTo>
                    <a:pt x="1785" y="243"/>
                  </a:lnTo>
                  <a:lnTo>
                    <a:pt x="1766" y="238"/>
                  </a:lnTo>
                  <a:lnTo>
                    <a:pt x="1691" y="208"/>
                  </a:lnTo>
                  <a:lnTo>
                    <a:pt x="1615" y="184"/>
                  </a:lnTo>
                  <a:lnTo>
                    <a:pt x="1536" y="166"/>
                  </a:lnTo>
                  <a:lnTo>
                    <a:pt x="1457" y="153"/>
                  </a:lnTo>
                  <a:lnTo>
                    <a:pt x="1377" y="145"/>
                  </a:lnTo>
                  <a:lnTo>
                    <a:pt x="1377" y="333"/>
                  </a:lnTo>
                  <a:lnTo>
                    <a:pt x="1375" y="352"/>
                  </a:lnTo>
                  <a:lnTo>
                    <a:pt x="1367" y="369"/>
                  </a:lnTo>
                  <a:lnTo>
                    <a:pt x="1355" y="383"/>
                  </a:lnTo>
                  <a:lnTo>
                    <a:pt x="1341" y="395"/>
                  </a:lnTo>
                  <a:lnTo>
                    <a:pt x="1324" y="401"/>
                  </a:lnTo>
                  <a:lnTo>
                    <a:pt x="1305" y="405"/>
                  </a:lnTo>
                  <a:lnTo>
                    <a:pt x="1286" y="401"/>
                  </a:lnTo>
                  <a:lnTo>
                    <a:pt x="1269" y="395"/>
                  </a:lnTo>
                  <a:lnTo>
                    <a:pt x="1255" y="383"/>
                  </a:lnTo>
                  <a:lnTo>
                    <a:pt x="1243" y="369"/>
                  </a:lnTo>
                  <a:lnTo>
                    <a:pt x="1236" y="352"/>
                  </a:lnTo>
                  <a:lnTo>
                    <a:pt x="1233" y="333"/>
                  </a:lnTo>
                  <a:lnTo>
                    <a:pt x="1233" y="145"/>
                  </a:lnTo>
                  <a:lnTo>
                    <a:pt x="1146" y="153"/>
                  </a:lnTo>
                  <a:lnTo>
                    <a:pt x="1062" y="168"/>
                  </a:lnTo>
                  <a:lnTo>
                    <a:pt x="979" y="190"/>
                  </a:lnTo>
                  <a:lnTo>
                    <a:pt x="900" y="216"/>
                  </a:lnTo>
                  <a:lnTo>
                    <a:pt x="822" y="248"/>
                  </a:lnTo>
                  <a:lnTo>
                    <a:pt x="748" y="285"/>
                  </a:lnTo>
                  <a:lnTo>
                    <a:pt x="676" y="328"/>
                  </a:lnTo>
                  <a:lnTo>
                    <a:pt x="609" y="375"/>
                  </a:lnTo>
                  <a:lnTo>
                    <a:pt x="544" y="427"/>
                  </a:lnTo>
                  <a:lnTo>
                    <a:pt x="484" y="483"/>
                  </a:lnTo>
                  <a:lnTo>
                    <a:pt x="428" y="544"/>
                  </a:lnTo>
                  <a:lnTo>
                    <a:pt x="376" y="608"/>
                  </a:lnTo>
                  <a:lnTo>
                    <a:pt x="328" y="675"/>
                  </a:lnTo>
                  <a:lnTo>
                    <a:pt x="286" y="747"/>
                  </a:lnTo>
                  <a:lnTo>
                    <a:pt x="249" y="820"/>
                  </a:lnTo>
                  <a:lnTo>
                    <a:pt x="217" y="897"/>
                  </a:lnTo>
                  <a:lnTo>
                    <a:pt x="190" y="978"/>
                  </a:lnTo>
                  <a:lnTo>
                    <a:pt x="168" y="1060"/>
                  </a:lnTo>
                  <a:lnTo>
                    <a:pt x="154" y="1144"/>
                  </a:lnTo>
                  <a:lnTo>
                    <a:pt x="146" y="1231"/>
                  </a:lnTo>
                  <a:lnTo>
                    <a:pt x="333" y="1231"/>
                  </a:lnTo>
                  <a:lnTo>
                    <a:pt x="353" y="1233"/>
                  </a:lnTo>
                  <a:lnTo>
                    <a:pt x="370" y="1241"/>
                  </a:lnTo>
                  <a:lnTo>
                    <a:pt x="384" y="1252"/>
                  </a:lnTo>
                  <a:lnTo>
                    <a:pt x="395" y="1266"/>
                  </a:lnTo>
                  <a:lnTo>
                    <a:pt x="403" y="1283"/>
                  </a:lnTo>
                  <a:lnTo>
                    <a:pt x="405" y="1303"/>
                  </a:lnTo>
                  <a:lnTo>
                    <a:pt x="403" y="1322"/>
                  </a:lnTo>
                  <a:lnTo>
                    <a:pt x="395" y="1339"/>
                  </a:lnTo>
                  <a:lnTo>
                    <a:pt x="384" y="1353"/>
                  </a:lnTo>
                  <a:lnTo>
                    <a:pt x="370" y="1365"/>
                  </a:lnTo>
                  <a:lnTo>
                    <a:pt x="353" y="1371"/>
                  </a:lnTo>
                  <a:lnTo>
                    <a:pt x="333" y="1374"/>
                  </a:lnTo>
                  <a:lnTo>
                    <a:pt x="146" y="1374"/>
                  </a:lnTo>
                  <a:lnTo>
                    <a:pt x="154" y="1461"/>
                  </a:lnTo>
                  <a:lnTo>
                    <a:pt x="168" y="1545"/>
                  </a:lnTo>
                  <a:lnTo>
                    <a:pt x="190" y="1628"/>
                  </a:lnTo>
                  <a:lnTo>
                    <a:pt x="217" y="1707"/>
                  </a:lnTo>
                  <a:lnTo>
                    <a:pt x="249" y="1785"/>
                  </a:lnTo>
                  <a:lnTo>
                    <a:pt x="286" y="1859"/>
                  </a:lnTo>
                  <a:lnTo>
                    <a:pt x="328" y="1930"/>
                  </a:lnTo>
                  <a:lnTo>
                    <a:pt x="376" y="1997"/>
                  </a:lnTo>
                  <a:lnTo>
                    <a:pt x="428" y="2062"/>
                  </a:lnTo>
                  <a:lnTo>
                    <a:pt x="484" y="2122"/>
                  </a:lnTo>
                  <a:lnTo>
                    <a:pt x="544" y="2178"/>
                  </a:lnTo>
                  <a:lnTo>
                    <a:pt x="609" y="2229"/>
                  </a:lnTo>
                  <a:lnTo>
                    <a:pt x="676" y="2278"/>
                  </a:lnTo>
                  <a:lnTo>
                    <a:pt x="748" y="2319"/>
                  </a:lnTo>
                  <a:lnTo>
                    <a:pt x="822" y="2357"/>
                  </a:lnTo>
                  <a:lnTo>
                    <a:pt x="900" y="2389"/>
                  </a:lnTo>
                  <a:lnTo>
                    <a:pt x="979" y="2416"/>
                  </a:lnTo>
                  <a:lnTo>
                    <a:pt x="1062" y="2437"/>
                  </a:lnTo>
                  <a:lnTo>
                    <a:pt x="1146" y="2451"/>
                  </a:lnTo>
                  <a:lnTo>
                    <a:pt x="1233" y="2459"/>
                  </a:lnTo>
                  <a:lnTo>
                    <a:pt x="1233" y="2272"/>
                  </a:lnTo>
                  <a:lnTo>
                    <a:pt x="1236" y="2253"/>
                  </a:lnTo>
                  <a:lnTo>
                    <a:pt x="1243" y="2236"/>
                  </a:lnTo>
                  <a:lnTo>
                    <a:pt x="1255" y="2222"/>
                  </a:lnTo>
                  <a:lnTo>
                    <a:pt x="1269" y="2210"/>
                  </a:lnTo>
                  <a:lnTo>
                    <a:pt x="1286" y="2203"/>
                  </a:lnTo>
                  <a:lnTo>
                    <a:pt x="1305" y="2201"/>
                  </a:lnTo>
                  <a:lnTo>
                    <a:pt x="1324" y="2203"/>
                  </a:lnTo>
                  <a:lnTo>
                    <a:pt x="1341" y="2210"/>
                  </a:lnTo>
                  <a:lnTo>
                    <a:pt x="1355" y="2222"/>
                  </a:lnTo>
                  <a:lnTo>
                    <a:pt x="1367" y="2236"/>
                  </a:lnTo>
                  <a:lnTo>
                    <a:pt x="1375" y="2253"/>
                  </a:lnTo>
                  <a:lnTo>
                    <a:pt x="1377" y="2272"/>
                  </a:lnTo>
                  <a:lnTo>
                    <a:pt x="1377" y="2459"/>
                  </a:lnTo>
                  <a:lnTo>
                    <a:pt x="1463" y="2451"/>
                  </a:lnTo>
                  <a:lnTo>
                    <a:pt x="1548" y="2437"/>
                  </a:lnTo>
                  <a:lnTo>
                    <a:pt x="1631" y="2416"/>
                  </a:lnTo>
                  <a:lnTo>
                    <a:pt x="1711" y="2389"/>
                  </a:lnTo>
                  <a:lnTo>
                    <a:pt x="1788" y="2357"/>
                  </a:lnTo>
                  <a:lnTo>
                    <a:pt x="1862" y="2319"/>
                  </a:lnTo>
                  <a:lnTo>
                    <a:pt x="1934" y="2278"/>
                  </a:lnTo>
                  <a:lnTo>
                    <a:pt x="2001" y="2229"/>
                  </a:lnTo>
                  <a:lnTo>
                    <a:pt x="2065" y="2178"/>
                  </a:lnTo>
                  <a:lnTo>
                    <a:pt x="2127" y="2122"/>
                  </a:lnTo>
                  <a:lnTo>
                    <a:pt x="2182" y="2062"/>
                  </a:lnTo>
                  <a:lnTo>
                    <a:pt x="2235" y="1997"/>
                  </a:lnTo>
                  <a:lnTo>
                    <a:pt x="2282" y="1930"/>
                  </a:lnTo>
                  <a:lnTo>
                    <a:pt x="2325" y="1859"/>
                  </a:lnTo>
                  <a:lnTo>
                    <a:pt x="2362" y="1785"/>
                  </a:lnTo>
                  <a:lnTo>
                    <a:pt x="2394" y="1707"/>
                  </a:lnTo>
                  <a:lnTo>
                    <a:pt x="2420" y="1628"/>
                  </a:lnTo>
                  <a:lnTo>
                    <a:pt x="2441" y="1545"/>
                  </a:lnTo>
                  <a:lnTo>
                    <a:pt x="2456" y="1461"/>
                  </a:lnTo>
                  <a:lnTo>
                    <a:pt x="2465" y="1374"/>
                  </a:lnTo>
                  <a:lnTo>
                    <a:pt x="2277" y="1374"/>
                  </a:lnTo>
                  <a:lnTo>
                    <a:pt x="2257" y="1371"/>
                  </a:lnTo>
                  <a:lnTo>
                    <a:pt x="2240" y="1365"/>
                  </a:lnTo>
                  <a:lnTo>
                    <a:pt x="2226" y="1353"/>
                  </a:lnTo>
                  <a:lnTo>
                    <a:pt x="2214" y="1339"/>
                  </a:lnTo>
                  <a:lnTo>
                    <a:pt x="2208" y="1322"/>
                  </a:lnTo>
                  <a:lnTo>
                    <a:pt x="2205" y="1303"/>
                  </a:lnTo>
                  <a:lnTo>
                    <a:pt x="2208" y="1283"/>
                  </a:lnTo>
                  <a:lnTo>
                    <a:pt x="2214" y="1266"/>
                  </a:lnTo>
                  <a:lnTo>
                    <a:pt x="2226" y="1252"/>
                  </a:lnTo>
                  <a:lnTo>
                    <a:pt x="2240" y="1241"/>
                  </a:lnTo>
                  <a:lnTo>
                    <a:pt x="2257" y="1233"/>
                  </a:lnTo>
                  <a:lnTo>
                    <a:pt x="2277" y="1231"/>
                  </a:lnTo>
                  <a:lnTo>
                    <a:pt x="2539" y="1231"/>
                  </a:lnTo>
                  <a:lnTo>
                    <a:pt x="2557" y="1233"/>
                  </a:lnTo>
                  <a:lnTo>
                    <a:pt x="2574" y="1241"/>
                  </a:lnTo>
                  <a:lnTo>
                    <a:pt x="2589" y="1252"/>
                  </a:lnTo>
                  <a:lnTo>
                    <a:pt x="2600" y="1266"/>
                  </a:lnTo>
                  <a:lnTo>
                    <a:pt x="2608" y="1283"/>
                  </a:lnTo>
                  <a:lnTo>
                    <a:pt x="2610" y="1303"/>
                  </a:lnTo>
                  <a:lnTo>
                    <a:pt x="2606" y="1396"/>
                  </a:lnTo>
                  <a:lnTo>
                    <a:pt x="2597" y="1486"/>
                  </a:lnTo>
                  <a:lnTo>
                    <a:pt x="2581" y="1575"/>
                  </a:lnTo>
                  <a:lnTo>
                    <a:pt x="2559" y="1663"/>
                  </a:lnTo>
                  <a:lnTo>
                    <a:pt x="2531" y="1747"/>
                  </a:lnTo>
                  <a:lnTo>
                    <a:pt x="2498" y="1830"/>
                  </a:lnTo>
                  <a:lnTo>
                    <a:pt x="2460" y="1909"/>
                  </a:lnTo>
                  <a:lnTo>
                    <a:pt x="2417" y="1985"/>
                  </a:lnTo>
                  <a:lnTo>
                    <a:pt x="2369" y="2057"/>
                  </a:lnTo>
                  <a:lnTo>
                    <a:pt x="2315" y="2126"/>
                  </a:lnTo>
                  <a:lnTo>
                    <a:pt x="2257" y="2192"/>
                  </a:lnTo>
                  <a:lnTo>
                    <a:pt x="2196" y="2253"/>
                  </a:lnTo>
                  <a:lnTo>
                    <a:pt x="2131" y="2311"/>
                  </a:lnTo>
                  <a:lnTo>
                    <a:pt x="2061" y="2363"/>
                  </a:lnTo>
                  <a:lnTo>
                    <a:pt x="1988" y="2412"/>
                  </a:lnTo>
                  <a:lnTo>
                    <a:pt x="1912" y="2455"/>
                  </a:lnTo>
                  <a:lnTo>
                    <a:pt x="1833" y="2494"/>
                  </a:lnTo>
                  <a:lnTo>
                    <a:pt x="1751" y="2527"/>
                  </a:lnTo>
                  <a:lnTo>
                    <a:pt x="1666" y="2554"/>
                  </a:lnTo>
                  <a:lnTo>
                    <a:pt x="1579" y="2576"/>
                  </a:lnTo>
                  <a:lnTo>
                    <a:pt x="1489" y="2592"/>
                  </a:lnTo>
                  <a:lnTo>
                    <a:pt x="1398" y="2602"/>
                  </a:lnTo>
                  <a:lnTo>
                    <a:pt x="1305" y="2605"/>
                  </a:lnTo>
                  <a:lnTo>
                    <a:pt x="1212" y="2602"/>
                  </a:lnTo>
                  <a:lnTo>
                    <a:pt x="1121" y="2592"/>
                  </a:lnTo>
                  <a:lnTo>
                    <a:pt x="1032" y="2576"/>
                  </a:lnTo>
                  <a:lnTo>
                    <a:pt x="944" y="2554"/>
                  </a:lnTo>
                  <a:lnTo>
                    <a:pt x="859" y="2527"/>
                  </a:lnTo>
                  <a:lnTo>
                    <a:pt x="777" y="2494"/>
                  </a:lnTo>
                  <a:lnTo>
                    <a:pt x="698" y="2455"/>
                  </a:lnTo>
                  <a:lnTo>
                    <a:pt x="621" y="2412"/>
                  </a:lnTo>
                  <a:lnTo>
                    <a:pt x="549" y="2363"/>
                  </a:lnTo>
                  <a:lnTo>
                    <a:pt x="480" y="2311"/>
                  </a:lnTo>
                  <a:lnTo>
                    <a:pt x="414" y="2253"/>
                  </a:lnTo>
                  <a:lnTo>
                    <a:pt x="353" y="2192"/>
                  </a:lnTo>
                  <a:lnTo>
                    <a:pt x="295" y="2126"/>
                  </a:lnTo>
                  <a:lnTo>
                    <a:pt x="242" y="2057"/>
                  </a:lnTo>
                  <a:lnTo>
                    <a:pt x="193" y="1985"/>
                  </a:lnTo>
                  <a:lnTo>
                    <a:pt x="150" y="1909"/>
                  </a:lnTo>
                  <a:lnTo>
                    <a:pt x="112" y="1830"/>
                  </a:lnTo>
                  <a:lnTo>
                    <a:pt x="78" y="1747"/>
                  </a:lnTo>
                  <a:lnTo>
                    <a:pt x="51" y="1663"/>
                  </a:lnTo>
                  <a:lnTo>
                    <a:pt x="29" y="1575"/>
                  </a:lnTo>
                  <a:lnTo>
                    <a:pt x="13" y="1486"/>
                  </a:lnTo>
                  <a:lnTo>
                    <a:pt x="3" y="1396"/>
                  </a:lnTo>
                  <a:lnTo>
                    <a:pt x="0" y="1303"/>
                  </a:lnTo>
                  <a:lnTo>
                    <a:pt x="3" y="1210"/>
                  </a:lnTo>
                  <a:lnTo>
                    <a:pt x="13" y="1119"/>
                  </a:lnTo>
                  <a:lnTo>
                    <a:pt x="29" y="1029"/>
                  </a:lnTo>
                  <a:lnTo>
                    <a:pt x="51" y="942"/>
                  </a:lnTo>
                  <a:lnTo>
                    <a:pt x="78" y="858"/>
                  </a:lnTo>
                  <a:lnTo>
                    <a:pt x="112" y="776"/>
                  </a:lnTo>
                  <a:lnTo>
                    <a:pt x="150" y="696"/>
                  </a:lnTo>
                  <a:lnTo>
                    <a:pt x="193" y="621"/>
                  </a:lnTo>
                  <a:lnTo>
                    <a:pt x="242" y="548"/>
                  </a:lnTo>
                  <a:lnTo>
                    <a:pt x="295" y="478"/>
                  </a:lnTo>
                  <a:lnTo>
                    <a:pt x="353" y="413"/>
                  </a:lnTo>
                  <a:lnTo>
                    <a:pt x="414" y="352"/>
                  </a:lnTo>
                  <a:lnTo>
                    <a:pt x="480" y="294"/>
                  </a:lnTo>
                  <a:lnTo>
                    <a:pt x="549" y="241"/>
                  </a:lnTo>
                  <a:lnTo>
                    <a:pt x="621" y="193"/>
                  </a:lnTo>
                  <a:lnTo>
                    <a:pt x="698" y="150"/>
                  </a:lnTo>
                  <a:lnTo>
                    <a:pt x="777" y="112"/>
                  </a:lnTo>
                  <a:lnTo>
                    <a:pt x="859" y="78"/>
                  </a:lnTo>
                  <a:lnTo>
                    <a:pt x="944" y="51"/>
                  </a:lnTo>
                  <a:lnTo>
                    <a:pt x="1032" y="29"/>
                  </a:lnTo>
                  <a:lnTo>
                    <a:pt x="1121" y="13"/>
                  </a:lnTo>
                  <a:lnTo>
                    <a:pt x="1212" y="4"/>
                  </a:lnTo>
                  <a:lnTo>
                    <a:pt x="1305"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Calibri" panose="020F0502020204030204"/>
              </a:endParaRPr>
            </a:p>
          </p:txBody>
        </p:sp>
        <p:sp>
          <p:nvSpPr>
            <p:cNvPr id="13" name="Freeform 8"/>
            <p:cNvSpPr>
              <a:spLocks noEditPoints="1"/>
            </p:cNvSpPr>
            <p:nvPr/>
          </p:nvSpPr>
          <p:spPr bwMode="auto">
            <a:xfrm>
              <a:off x="3688" y="2200"/>
              <a:ext cx="303" cy="303"/>
            </a:xfrm>
            <a:custGeom>
              <a:avLst/>
              <a:gdLst>
                <a:gd name="T0" fmla="*/ 201 w 1212"/>
                <a:gd name="T1" fmla="*/ 1009 h 1210"/>
                <a:gd name="T2" fmla="*/ 396 w 1212"/>
                <a:gd name="T3" fmla="*/ 903 h 1210"/>
                <a:gd name="T4" fmla="*/ 348 w 1212"/>
                <a:gd name="T5" fmla="*/ 862 h 1210"/>
                <a:gd name="T6" fmla="*/ 307 w 1212"/>
                <a:gd name="T7" fmla="*/ 814 h 1210"/>
                <a:gd name="T8" fmla="*/ 606 w 1212"/>
                <a:gd name="T9" fmla="*/ 381 h 1210"/>
                <a:gd name="T10" fmla="*/ 551 w 1212"/>
                <a:gd name="T11" fmla="*/ 388 h 1210"/>
                <a:gd name="T12" fmla="*/ 520 w 1212"/>
                <a:gd name="T13" fmla="*/ 398 h 1210"/>
                <a:gd name="T14" fmla="*/ 495 w 1212"/>
                <a:gd name="T15" fmla="*/ 411 h 1210"/>
                <a:gd name="T16" fmla="*/ 448 w 1212"/>
                <a:gd name="T17" fmla="*/ 446 h 1210"/>
                <a:gd name="T18" fmla="*/ 407 w 1212"/>
                <a:gd name="T19" fmla="*/ 504 h 1210"/>
                <a:gd name="T20" fmla="*/ 386 w 1212"/>
                <a:gd name="T21" fmla="*/ 569 h 1210"/>
                <a:gd name="T22" fmla="*/ 386 w 1212"/>
                <a:gd name="T23" fmla="*/ 638 h 1210"/>
                <a:gd name="T24" fmla="*/ 407 w 1212"/>
                <a:gd name="T25" fmla="*/ 703 h 1210"/>
                <a:gd name="T26" fmla="*/ 448 w 1212"/>
                <a:gd name="T27" fmla="*/ 761 h 1210"/>
                <a:gd name="T28" fmla="*/ 505 w 1212"/>
                <a:gd name="T29" fmla="*/ 802 h 1210"/>
                <a:gd name="T30" fmla="*/ 572 w 1212"/>
                <a:gd name="T31" fmla="*/ 824 h 1210"/>
                <a:gd name="T32" fmla="*/ 642 w 1212"/>
                <a:gd name="T33" fmla="*/ 824 h 1210"/>
                <a:gd name="T34" fmla="*/ 708 w 1212"/>
                <a:gd name="T35" fmla="*/ 802 h 1210"/>
                <a:gd name="T36" fmla="*/ 764 w 1212"/>
                <a:gd name="T37" fmla="*/ 761 h 1210"/>
                <a:gd name="T38" fmla="*/ 806 w 1212"/>
                <a:gd name="T39" fmla="*/ 703 h 1210"/>
                <a:gd name="T40" fmla="*/ 827 w 1212"/>
                <a:gd name="T41" fmla="*/ 638 h 1210"/>
                <a:gd name="T42" fmla="*/ 827 w 1212"/>
                <a:gd name="T43" fmla="*/ 569 h 1210"/>
                <a:gd name="T44" fmla="*/ 806 w 1212"/>
                <a:gd name="T45" fmla="*/ 504 h 1210"/>
                <a:gd name="T46" fmla="*/ 764 w 1212"/>
                <a:gd name="T47" fmla="*/ 446 h 1210"/>
                <a:gd name="T48" fmla="*/ 708 w 1212"/>
                <a:gd name="T49" fmla="*/ 405 h 1210"/>
                <a:gd name="T50" fmla="*/ 642 w 1212"/>
                <a:gd name="T51" fmla="*/ 383 h 1210"/>
                <a:gd name="T52" fmla="*/ 1011 w 1212"/>
                <a:gd name="T53" fmla="*/ 201 h 1210"/>
                <a:gd name="T54" fmla="*/ 831 w 1212"/>
                <a:gd name="T55" fmla="*/ 314 h 1210"/>
                <a:gd name="T56" fmla="*/ 887 w 1212"/>
                <a:gd name="T57" fmla="*/ 368 h 1210"/>
                <a:gd name="T58" fmla="*/ 923 w 1212"/>
                <a:gd name="T59" fmla="*/ 419 h 1210"/>
                <a:gd name="T60" fmla="*/ 1147 w 1212"/>
                <a:gd name="T61" fmla="*/ 0 h 1210"/>
                <a:gd name="T62" fmla="*/ 1178 w 1212"/>
                <a:gd name="T63" fmla="*/ 9 h 1210"/>
                <a:gd name="T64" fmla="*/ 1203 w 1212"/>
                <a:gd name="T65" fmla="*/ 33 h 1210"/>
                <a:gd name="T66" fmla="*/ 1212 w 1212"/>
                <a:gd name="T67" fmla="*/ 65 h 1210"/>
                <a:gd name="T68" fmla="*/ 1207 w 1212"/>
                <a:gd name="T69" fmla="*/ 97 h 1210"/>
                <a:gd name="T70" fmla="*/ 944 w 1212"/>
                <a:gd name="T71" fmla="*/ 746 h 1210"/>
                <a:gd name="T72" fmla="*/ 911 w 1212"/>
                <a:gd name="T73" fmla="*/ 807 h 1210"/>
                <a:gd name="T74" fmla="*/ 865 w 1212"/>
                <a:gd name="T75" fmla="*/ 862 h 1210"/>
                <a:gd name="T76" fmla="*/ 794 w 1212"/>
                <a:gd name="T77" fmla="*/ 918 h 1210"/>
                <a:gd name="T78" fmla="*/ 751 w 1212"/>
                <a:gd name="T79" fmla="*/ 940 h 1210"/>
                <a:gd name="T80" fmla="*/ 98 w 1212"/>
                <a:gd name="T81" fmla="*/ 1204 h 1210"/>
                <a:gd name="T82" fmla="*/ 71 w 1212"/>
                <a:gd name="T83" fmla="*/ 1210 h 1210"/>
                <a:gd name="T84" fmla="*/ 36 w 1212"/>
                <a:gd name="T85" fmla="*/ 1200 h 1210"/>
                <a:gd name="T86" fmla="*/ 10 w 1212"/>
                <a:gd name="T87" fmla="*/ 1176 h 1210"/>
                <a:gd name="T88" fmla="*/ 0 w 1212"/>
                <a:gd name="T89" fmla="*/ 1145 h 1210"/>
                <a:gd name="T90" fmla="*/ 5 w 1212"/>
                <a:gd name="T91" fmla="*/ 1111 h 1210"/>
                <a:gd name="T92" fmla="*/ 270 w 1212"/>
                <a:gd name="T93" fmla="*/ 460 h 1210"/>
                <a:gd name="T94" fmla="*/ 292 w 1212"/>
                <a:gd name="T95" fmla="*/ 416 h 1210"/>
                <a:gd name="T96" fmla="*/ 348 w 1212"/>
                <a:gd name="T97" fmla="*/ 345 h 1210"/>
                <a:gd name="T98" fmla="*/ 410 w 1212"/>
                <a:gd name="T99" fmla="*/ 296 h 1210"/>
                <a:gd name="T100" fmla="*/ 481 w 1212"/>
                <a:gd name="T101" fmla="*/ 260 h 1210"/>
                <a:gd name="T102" fmla="*/ 1131 w 1212"/>
                <a:gd name="T103" fmla="*/ 0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12" h="1210">
                  <a:moveTo>
                    <a:pt x="290" y="789"/>
                  </a:moveTo>
                  <a:lnTo>
                    <a:pt x="201" y="1009"/>
                  </a:lnTo>
                  <a:lnTo>
                    <a:pt x="422" y="919"/>
                  </a:lnTo>
                  <a:lnTo>
                    <a:pt x="396" y="903"/>
                  </a:lnTo>
                  <a:lnTo>
                    <a:pt x="371" y="884"/>
                  </a:lnTo>
                  <a:lnTo>
                    <a:pt x="348" y="862"/>
                  </a:lnTo>
                  <a:lnTo>
                    <a:pt x="326" y="839"/>
                  </a:lnTo>
                  <a:lnTo>
                    <a:pt x="307" y="814"/>
                  </a:lnTo>
                  <a:lnTo>
                    <a:pt x="290" y="789"/>
                  </a:lnTo>
                  <a:close/>
                  <a:moveTo>
                    <a:pt x="606" y="381"/>
                  </a:moveTo>
                  <a:lnTo>
                    <a:pt x="579" y="382"/>
                  </a:lnTo>
                  <a:lnTo>
                    <a:pt x="551" y="388"/>
                  </a:lnTo>
                  <a:lnTo>
                    <a:pt x="526" y="396"/>
                  </a:lnTo>
                  <a:lnTo>
                    <a:pt x="520" y="398"/>
                  </a:lnTo>
                  <a:lnTo>
                    <a:pt x="519" y="398"/>
                  </a:lnTo>
                  <a:lnTo>
                    <a:pt x="495" y="411"/>
                  </a:lnTo>
                  <a:lnTo>
                    <a:pt x="471" y="427"/>
                  </a:lnTo>
                  <a:lnTo>
                    <a:pt x="448" y="446"/>
                  </a:lnTo>
                  <a:lnTo>
                    <a:pt x="425" y="474"/>
                  </a:lnTo>
                  <a:lnTo>
                    <a:pt x="407" y="504"/>
                  </a:lnTo>
                  <a:lnTo>
                    <a:pt x="394" y="536"/>
                  </a:lnTo>
                  <a:lnTo>
                    <a:pt x="386" y="569"/>
                  </a:lnTo>
                  <a:lnTo>
                    <a:pt x="383" y="604"/>
                  </a:lnTo>
                  <a:lnTo>
                    <a:pt x="386" y="638"/>
                  </a:lnTo>
                  <a:lnTo>
                    <a:pt x="394" y="671"/>
                  </a:lnTo>
                  <a:lnTo>
                    <a:pt x="407" y="703"/>
                  </a:lnTo>
                  <a:lnTo>
                    <a:pt x="425" y="734"/>
                  </a:lnTo>
                  <a:lnTo>
                    <a:pt x="448" y="761"/>
                  </a:lnTo>
                  <a:lnTo>
                    <a:pt x="475" y="784"/>
                  </a:lnTo>
                  <a:lnTo>
                    <a:pt x="505" y="802"/>
                  </a:lnTo>
                  <a:lnTo>
                    <a:pt x="537" y="815"/>
                  </a:lnTo>
                  <a:lnTo>
                    <a:pt x="572" y="824"/>
                  </a:lnTo>
                  <a:lnTo>
                    <a:pt x="606" y="826"/>
                  </a:lnTo>
                  <a:lnTo>
                    <a:pt x="642" y="824"/>
                  </a:lnTo>
                  <a:lnTo>
                    <a:pt x="676" y="815"/>
                  </a:lnTo>
                  <a:lnTo>
                    <a:pt x="708" y="802"/>
                  </a:lnTo>
                  <a:lnTo>
                    <a:pt x="738" y="784"/>
                  </a:lnTo>
                  <a:lnTo>
                    <a:pt x="764" y="761"/>
                  </a:lnTo>
                  <a:lnTo>
                    <a:pt x="788" y="734"/>
                  </a:lnTo>
                  <a:lnTo>
                    <a:pt x="806" y="703"/>
                  </a:lnTo>
                  <a:lnTo>
                    <a:pt x="819" y="671"/>
                  </a:lnTo>
                  <a:lnTo>
                    <a:pt x="827" y="638"/>
                  </a:lnTo>
                  <a:lnTo>
                    <a:pt x="830" y="604"/>
                  </a:lnTo>
                  <a:lnTo>
                    <a:pt x="827" y="569"/>
                  </a:lnTo>
                  <a:lnTo>
                    <a:pt x="819" y="536"/>
                  </a:lnTo>
                  <a:lnTo>
                    <a:pt x="806" y="504"/>
                  </a:lnTo>
                  <a:lnTo>
                    <a:pt x="788" y="474"/>
                  </a:lnTo>
                  <a:lnTo>
                    <a:pt x="764" y="446"/>
                  </a:lnTo>
                  <a:lnTo>
                    <a:pt x="738" y="423"/>
                  </a:lnTo>
                  <a:lnTo>
                    <a:pt x="708" y="405"/>
                  </a:lnTo>
                  <a:lnTo>
                    <a:pt x="676" y="392"/>
                  </a:lnTo>
                  <a:lnTo>
                    <a:pt x="642" y="383"/>
                  </a:lnTo>
                  <a:lnTo>
                    <a:pt x="606" y="381"/>
                  </a:lnTo>
                  <a:close/>
                  <a:moveTo>
                    <a:pt x="1011" y="201"/>
                  </a:moveTo>
                  <a:lnTo>
                    <a:pt x="792" y="288"/>
                  </a:lnTo>
                  <a:lnTo>
                    <a:pt x="831" y="314"/>
                  </a:lnTo>
                  <a:lnTo>
                    <a:pt x="865" y="345"/>
                  </a:lnTo>
                  <a:lnTo>
                    <a:pt x="887" y="368"/>
                  </a:lnTo>
                  <a:lnTo>
                    <a:pt x="906" y="393"/>
                  </a:lnTo>
                  <a:lnTo>
                    <a:pt x="923" y="419"/>
                  </a:lnTo>
                  <a:lnTo>
                    <a:pt x="1011" y="201"/>
                  </a:lnTo>
                  <a:close/>
                  <a:moveTo>
                    <a:pt x="1147" y="0"/>
                  </a:moveTo>
                  <a:lnTo>
                    <a:pt x="1163" y="3"/>
                  </a:lnTo>
                  <a:lnTo>
                    <a:pt x="1178" y="9"/>
                  </a:lnTo>
                  <a:lnTo>
                    <a:pt x="1192" y="20"/>
                  </a:lnTo>
                  <a:lnTo>
                    <a:pt x="1203" y="33"/>
                  </a:lnTo>
                  <a:lnTo>
                    <a:pt x="1209" y="49"/>
                  </a:lnTo>
                  <a:lnTo>
                    <a:pt x="1212" y="65"/>
                  </a:lnTo>
                  <a:lnTo>
                    <a:pt x="1212" y="81"/>
                  </a:lnTo>
                  <a:lnTo>
                    <a:pt x="1207" y="97"/>
                  </a:lnTo>
                  <a:lnTo>
                    <a:pt x="946" y="744"/>
                  </a:lnTo>
                  <a:lnTo>
                    <a:pt x="944" y="746"/>
                  </a:lnTo>
                  <a:lnTo>
                    <a:pt x="929" y="777"/>
                  </a:lnTo>
                  <a:lnTo>
                    <a:pt x="911" y="807"/>
                  </a:lnTo>
                  <a:lnTo>
                    <a:pt x="890" y="836"/>
                  </a:lnTo>
                  <a:lnTo>
                    <a:pt x="865" y="862"/>
                  </a:lnTo>
                  <a:lnTo>
                    <a:pt x="832" y="892"/>
                  </a:lnTo>
                  <a:lnTo>
                    <a:pt x="794" y="918"/>
                  </a:lnTo>
                  <a:lnTo>
                    <a:pt x="755" y="938"/>
                  </a:lnTo>
                  <a:lnTo>
                    <a:pt x="751" y="940"/>
                  </a:lnTo>
                  <a:lnTo>
                    <a:pt x="746" y="942"/>
                  </a:lnTo>
                  <a:lnTo>
                    <a:pt x="98" y="1204"/>
                  </a:lnTo>
                  <a:lnTo>
                    <a:pt x="84" y="1209"/>
                  </a:lnTo>
                  <a:lnTo>
                    <a:pt x="71" y="1210"/>
                  </a:lnTo>
                  <a:lnTo>
                    <a:pt x="53" y="1208"/>
                  </a:lnTo>
                  <a:lnTo>
                    <a:pt x="36" y="1200"/>
                  </a:lnTo>
                  <a:lnTo>
                    <a:pt x="20" y="1188"/>
                  </a:lnTo>
                  <a:lnTo>
                    <a:pt x="10" y="1176"/>
                  </a:lnTo>
                  <a:lnTo>
                    <a:pt x="3" y="1161"/>
                  </a:lnTo>
                  <a:lnTo>
                    <a:pt x="0" y="1145"/>
                  </a:lnTo>
                  <a:lnTo>
                    <a:pt x="1" y="1127"/>
                  </a:lnTo>
                  <a:lnTo>
                    <a:pt x="5" y="1111"/>
                  </a:lnTo>
                  <a:lnTo>
                    <a:pt x="267" y="465"/>
                  </a:lnTo>
                  <a:lnTo>
                    <a:pt x="270" y="460"/>
                  </a:lnTo>
                  <a:lnTo>
                    <a:pt x="272" y="455"/>
                  </a:lnTo>
                  <a:lnTo>
                    <a:pt x="292" y="416"/>
                  </a:lnTo>
                  <a:lnTo>
                    <a:pt x="318" y="379"/>
                  </a:lnTo>
                  <a:lnTo>
                    <a:pt x="348" y="345"/>
                  </a:lnTo>
                  <a:lnTo>
                    <a:pt x="378" y="318"/>
                  </a:lnTo>
                  <a:lnTo>
                    <a:pt x="410" y="296"/>
                  </a:lnTo>
                  <a:lnTo>
                    <a:pt x="444" y="275"/>
                  </a:lnTo>
                  <a:lnTo>
                    <a:pt x="481" y="260"/>
                  </a:lnTo>
                  <a:lnTo>
                    <a:pt x="1114" y="4"/>
                  </a:lnTo>
                  <a:lnTo>
                    <a:pt x="1131" y="0"/>
                  </a:lnTo>
                  <a:lnTo>
                    <a:pt x="1147"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Calibri" panose="020F0502020204030204"/>
              </a:endParaRPr>
            </a:p>
          </p:txBody>
        </p:sp>
      </p:grpSp>
      <p:cxnSp>
        <p:nvCxnSpPr>
          <p:cNvPr id="15" name="Straight Connector 14"/>
          <p:cNvCxnSpPr>
            <a:cxnSpLocks/>
          </p:cNvCxnSpPr>
          <p:nvPr/>
        </p:nvCxnSpPr>
        <p:spPr>
          <a:xfrm>
            <a:off x="6096000" y="4401308"/>
            <a:ext cx="0" cy="62789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11"/>
          </p:nvPr>
        </p:nvSpPr>
        <p:spPr/>
        <p:txBody>
          <a:bodyPr/>
          <a:lstStyle/>
          <a:p>
            <a:r>
              <a:rPr lang="en-US" dirty="0"/>
              <a:t>Apparel Mart-BD.</a:t>
            </a:r>
          </a:p>
        </p:txBody>
      </p:sp>
      <p:sp>
        <p:nvSpPr>
          <p:cNvPr id="16" name="Subtitle 2">
            <a:extLst>
              <a:ext uri="{FF2B5EF4-FFF2-40B4-BE49-F238E27FC236}">
                <a16:creationId xmlns:a16="http://schemas.microsoft.com/office/drawing/2014/main" id="{09721F9F-B32E-4646-AE66-EF3B5A97292B}"/>
              </a:ext>
            </a:extLst>
          </p:cNvPr>
          <p:cNvSpPr txBox="1">
            <a:spLocks/>
          </p:cNvSpPr>
          <p:nvPr/>
        </p:nvSpPr>
        <p:spPr>
          <a:xfrm>
            <a:off x="960120" y="5206247"/>
            <a:ext cx="10392242" cy="101357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1000"/>
              </a:lnSpc>
            </a:pPr>
            <a:r>
              <a:rPr lang="en-US" sz="3300">
                <a:latin typeface="Tahoma" pitchFamily="34" charset="0"/>
                <a:ea typeface="Tahoma" pitchFamily="34" charset="0"/>
                <a:cs typeface="Tahoma" pitchFamily="34" charset="0"/>
              </a:rPr>
              <a:t>We are the suppliers of any type of clothing according to your requirements with Best Quality.</a:t>
            </a:r>
            <a:endParaRPr lang="en-US" sz="3300" dirty="0">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812914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par>
                                <p:cTn id="8" presetID="8" presetClass="emph" presetSubtype="0" decel="75000" fill="hold" nodeType="withEffect">
                                  <p:stCondLst>
                                    <p:cond delay="0"/>
                                  </p:stCondLst>
                                  <p:childTnLst>
                                    <p:animRot by="43200000">
                                      <p:cBhvr>
                                        <p:cTn id="9" dur="2000" fill="hold"/>
                                        <p:tgtEl>
                                          <p:spTgt spid="8"/>
                                        </p:tgtEl>
                                        <p:attrNameLst>
                                          <p:attrName>r</p:attrName>
                                        </p:attrNameLst>
                                      </p:cBhvr>
                                    </p:animRot>
                                  </p:childTnLst>
                                </p:cTn>
                              </p:par>
                              <p:par>
                                <p:cTn id="10" presetID="22" presetClass="entr" presetSubtype="1"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up)">
                                      <p:cBhvr>
                                        <p:cTn id="1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1"/>
            <a:ext cx="12192000" cy="375260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p:cNvSpPr txBox="1"/>
          <p:nvPr/>
        </p:nvSpPr>
        <p:spPr>
          <a:xfrm>
            <a:off x="1127448" y="548680"/>
            <a:ext cx="9496540" cy="1015663"/>
          </a:xfrm>
          <a:prstGeom prst="rect">
            <a:avLst/>
          </a:prstGeom>
          <a:noFill/>
        </p:spPr>
        <p:txBody>
          <a:bodyPr wrap="square" rtlCol="0">
            <a:spAutoFit/>
          </a:bodyPr>
          <a:lstStyle/>
          <a:p>
            <a:pPr lvl="0" algn="ctr" latinLnBrk="0"/>
            <a:r>
              <a:rPr lang="en-US" sz="6000" spc="-169" dirty="0">
                <a:solidFill>
                  <a:srgbClr val="ED7D31"/>
                </a:solidFill>
                <a:latin typeface="Trebuchet MS" panose="020B0603020202020204" pitchFamily="34" charset="0"/>
              </a:rPr>
              <a:t>Our Business Process</a:t>
            </a:r>
            <a:r>
              <a:rPr kumimoji="0" lang="en-US" sz="6000" b="0" i="0" u="none" strike="noStrike" kern="1200" cap="none" spc="-150" normalizeH="0" baseline="0" noProof="0" dirty="0">
                <a:ln>
                  <a:noFill/>
                </a:ln>
                <a:solidFill>
                  <a:prstClr val="white"/>
                </a:solidFill>
                <a:effectLst/>
                <a:uLnTx/>
                <a:uFillTx/>
                <a:latin typeface="Trebuchet MS" panose="020B0603020202020204" pitchFamily="34" charset="0"/>
                <a:cs typeface="Arial" panose="020B0604020202020204" pitchFamily="34" charset="0"/>
              </a:rPr>
              <a:t> </a:t>
            </a:r>
          </a:p>
        </p:txBody>
      </p:sp>
      <p:pic>
        <p:nvPicPr>
          <p:cNvPr id="19" name="Picture 18"/>
          <p:cNvPicPr>
            <a:picLocks noChangeAspect="1"/>
          </p:cNvPicPr>
          <p:nvPr/>
        </p:nvPicPr>
        <p:blipFill>
          <a:blip r:embed="rId2">
            <a:extLst>
              <a:ext uri="{BEBA8EAE-BF5A-486C-A8C5-ECC9F3942E4B}">
                <a14:imgProps xmlns:a14="http://schemas.microsoft.com/office/drawing/2010/main">
                  <a14:imgLayer r:embed="rId3">
                    <a14:imgEffect>
                      <a14:colorTemperature colorTemp="11200"/>
                    </a14:imgEffect>
                  </a14:imgLayer>
                </a14:imgProps>
              </a:ext>
            </a:extLst>
          </a:blip>
          <a:stretch>
            <a:fillRect/>
          </a:stretch>
        </p:blipFill>
        <p:spPr>
          <a:xfrm>
            <a:off x="260484" y="1721025"/>
            <a:ext cx="11740172" cy="49675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9295248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66783" y="981151"/>
            <a:ext cx="11568017" cy="5740327"/>
          </a:xfrm>
          <a:prstGeom prst="rect">
            <a:avLst/>
          </a:prstGeom>
          <a:solidFill>
            <a:schemeClr val="tx1">
              <a:alpha val="0"/>
            </a:schemeClr>
          </a:solidFill>
        </p:spPr>
      </p:pic>
      <p:sp>
        <p:nvSpPr>
          <p:cNvPr id="4" name="Footer Placeholder 3"/>
          <p:cNvSpPr>
            <a:spLocks noGrp="1"/>
          </p:cNvSpPr>
          <p:nvPr>
            <p:ph type="ftr" sz="quarter" idx="11"/>
          </p:nvPr>
        </p:nvSpPr>
        <p:spPr/>
        <p:txBody>
          <a:bodyPr/>
          <a:lstStyle/>
          <a:p>
            <a:r>
              <a:rPr lang="en-US" altLang="ko-KR" dirty="0"/>
              <a:t>Apparel Mart-BD</a:t>
            </a:r>
            <a:endParaRPr lang="ko-KR" altLang="en-US" dirty="0"/>
          </a:p>
        </p:txBody>
      </p:sp>
      <p:sp>
        <p:nvSpPr>
          <p:cNvPr id="5" name="Title 4"/>
          <p:cNvSpPr>
            <a:spLocks noGrp="1"/>
          </p:cNvSpPr>
          <p:nvPr>
            <p:ph type="title"/>
          </p:nvPr>
        </p:nvSpPr>
        <p:spPr>
          <a:xfrm>
            <a:off x="166784" y="-10556"/>
            <a:ext cx="10214928" cy="991284"/>
          </a:xfrm>
        </p:spPr>
        <p:txBody>
          <a:bodyPr>
            <a:normAutofit/>
          </a:bodyPr>
          <a:lstStyle/>
          <a:p>
            <a:pPr algn="ctr"/>
            <a:r>
              <a:rPr lang="en-US" sz="3200" dirty="0">
                <a:latin typeface="Trebuchet MS" panose="020B0603020202020204" pitchFamily="34" charset="0"/>
              </a:rPr>
              <a:t>Our Solution </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252511" y="5135788"/>
            <a:ext cx="2721166" cy="172221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150" normalizeH="0" baseline="0" noProof="0" dirty="0">
              <a:ln>
                <a:noFill/>
              </a:ln>
              <a:solidFill>
                <a:prstClr val="white"/>
              </a:solidFill>
              <a:effectLst/>
              <a:uLnTx/>
              <a:uFillTx/>
              <a:latin typeface="Calibri" panose="020F0502020204030204"/>
              <a:ea typeface="+mn-ea"/>
              <a:cs typeface="+mn-cs"/>
            </a:endParaRPr>
          </a:p>
        </p:txBody>
      </p:sp>
      <p:sp>
        <p:nvSpPr>
          <p:cNvPr id="16" name="Freeform 192"/>
          <p:cNvSpPr>
            <a:spLocks/>
          </p:cNvSpPr>
          <p:nvPr/>
        </p:nvSpPr>
        <p:spPr bwMode="auto">
          <a:xfrm>
            <a:off x="4980344" y="3086424"/>
            <a:ext cx="1315745" cy="2269701"/>
          </a:xfrm>
          <a:custGeom>
            <a:avLst/>
            <a:gdLst>
              <a:gd name="T0" fmla="*/ 258 w 725"/>
              <a:gd name="T1" fmla="*/ 1251 h 1251"/>
              <a:gd name="T2" fmla="*/ 285 w 725"/>
              <a:gd name="T3" fmla="*/ 700 h 1251"/>
              <a:gd name="T4" fmla="*/ 0 w 725"/>
              <a:gd name="T5" fmla="*/ 315 h 1251"/>
              <a:gd name="T6" fmla="*/ 46 w 725"/>
              <a:gd name="T7" fmla="*/ 273 h 1251"/>
              <a:gd name="T8" fmla="*/ 314 w 725"/>
              <a:gd name="T9" fmla="*/ 578 h 1251"/>
              <a:gd name="T10" fmla="*/ 344 w 725"/>
              <a:gd name="T11" fmla="*/ 0 h 1251"/>
              <a:gd name="T12" fmla="*/ 412 w 725"/>
              <a:gd name="T13" fmla="*/ 0 h 1251"/>
              <a:gd name="T14" fmla="*/ 440 w 725"/>
              <a:gd name="T15" fmla="*/ 377 h 1251"/>
              <a:gd name="T16" fmla="*/ 675 w 725"/>
              <a:gd name="T17" fmla="*/ 126 h 1251"/>
              <a:gd name="T18" fmla="*/ 725 w 725"/>
              <a:gd name="T19" fmla="*/ 193 h 1251"/>
              <a:gd name="T20" fmla="*/ 478 w 725"/>
              <a:gd name="T21" fmla="*/ 490 h 1251"/>
              <a:gd name="T22" fmla="*/ 461 w 725"/>
              <a:gd name="T23" fmla="*/ 788 h 1251"/>
              <a:gd name="T24" fmla="*/ 507 w 725"/>
              <a:gd name="T25" fmla="*/ 1245 h 1251"/>
              <a:gd name="T26" fmla="*/ 258 w 725"/>
              <a:gd name="T27" fmla="*/ 1251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5" h="1251">
                <a:moveTo>
                  <a:pt x="258" y="1251"/>
                </a:moveTo>
                <a:cubicBezTo>
                  <a:pt x="258" y="1251"/>
                  <a:pt x="323" y="826"/>
                  <a:pt x="285" y="700"/>
                </a:cubicBezTo>
                <a:cubicBezTo>
                  <a:pt x="0" y="315"/>
                  <a:pt x="0" y="315"/>
                  <a:pt x="0" y="315"/>
                </a:cubicBezTo>
                <a:cubicBezTo>
                  <a:pt x="46" y="273"/>
                  <a:pt x="46" y="273"/>
                  <a:pt x="46" y="273"/>
                </a:cubicBezTo>
                <a:cubicBezTo>
                  <a:pt x="314" y="578"/>
                  <a:pt x="314" y="578"/>
                  <a:pt x="314" y="578"/>
                </a:cubicBezTo>
                <a:cubicBezTo>
                  <a:pt x="344" y="0"/>
                  <a:pt x="344" y="0"/>
                  <a:pt x="344" y="0"/>
                </a:cubicBezTo>
                <a:cubicBezTo>
                  <a:pt x="412" y="0"/>
                  <a:pt x="412" y="0"/>
                  <a:pt x="412" y="0"/>
                </a:cubicBezTo>
                <a:cubicBezTo>
                  <a:pt x="440" y="377"/>
                  <a:pt x="440" y="377"/>
                  <a:pt x="440" y="377"/>
                </a:cubicBezTo>
                <a:cubicBezTo>
                  <a:pt x="675" y="126"/>
                  <a:pt x="675" y="126"/>
                  <a:pt x="675" y="126"/>
                </a:cubicBezTo>
                <a:cubicBezTo>
                  <a:pt x="725" y="193"/>
                  <a:pt x="725" y="193"/>
                  <a:pt x="725" y="193"/>
                </a:cubicBezTo>
                <a:cubicBezTo>
                  <a:pt x="478" y="490"/>
                  <a:pt x="478" y="490"/>
                  <a:pt x="478" y="490"/>
                </a:cubicBezTo>
                <a:cubicBezTo>
                  <a:pt x="478" y="490"/>
                  <a:pt x="436" y="490"/>
                  <a:pt x="461" y="788"/>
                </a:cubicBezTo>
                <a:cubicBezTo>
                  <a:pt x="486" y="1085"/>
                  <a:pt x="507" y="1245"/>
                  <a:pt x="507" y="1245"/>
                </a:cubicBezTo>
                <a:lnTo>
                  <a:pt x="258" y="1251"/>
                </a:lnTo>
                <a:close/>
              </a:path>
            </a:pathLst>
          </a:custGeom>
          <a:solidFill>
            <a:schemeClr val="tx1">
              <a:lumMod val="65000"/>
              <a:lumOff val="3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extBox 22"/>
          <p:cNvSpPr txBox="1"/>
          <p:nvPr/>
        </p:nvSpPr>
        <p:spPr>
          <a:xfrm>
            <a:off x="191344" y="1599652"/>
            <a:ext cx="3727220" cy="3970318"/>
          </a:xfrm>
          <a:prstGeom prst="rect">
            <a:avLst/>
          </a:prstGeom>
          <a:noFill/>
        </p:spPr>
        <p:txBody>
          <a:bodyPr wrap="square" rtlCol="0">
            <a:spAutoFit/>
          </a:bodyPr>
          <a:lstStyle/>
          <a:p>
            <a:r>
              <a:rPr lang="en-US" dirty="0">
                <a:latin typeface="Trebuchet MS" panose="020B0603020202020204" pitchFamily="34" charset="0"/>
              </a:rPr>
              <a:t>Our factory partners include all </a:t>
            </a:r>
          </a:p>
          <a:p>
            <a:r>
              <a:rPr lang="en-US" dirty="0">
                <a:latin typeface="Trebuchet MS" panose="020B0603020202020204" pitchFamily="34" charset="0"/>
              </a:rPr>
              <a:t>small, medium and large </a:t>
            </a:r>
          </a:p>
          <a:p>
            <a:r>
              <a:rPr lang="en-US" dirty="0">
                <a:latin typeface="Trebuchet MS" panose="020B0603020202020204" pitchFamily="34" charset="0"/>
              </a:rPr>
              <a:t>institutionalized facilities.</a:t>
            </a:r>
          </a:p>
          <a:p>
            <a:r>
              <a:rPr lang="en-US" dirty="0">
                <a:latin typeface="Trebuchet MS" panose="020B0603020202020204" pitchFamily="34" charset="0"/>
              </a:rPr>
              <a:t>When our small or medium-sized </a:t>
            </a:r>
          </a:p>
          <a:p>
            <a:r>
              <a:rPr lang="en-US" dirty="0">
                <a:latin typeface="Trebuchet MS" panose="020B0603020202020204" pitchFamily="34" charset="0"/>
              </a:rPr>
              <a:t>factory partners produce goods, </a:t>
            </a:r>
          </a:p>
          <a:p>
            <a:r>
              <a:rPr lang="en-US" dirty="0">
                <a:latin typeface="Trebuchet MS" panose="020B0603020202020204" pitchFamily="34" charset="0"/>
              </a:rPr>
              <a:t>our customers can rest assured </a:t>
            </a:r>
          </a:p>
          <a:p>
            <a:r>
              <a:rPr lang="en-US" dirty="0">
                <a:latin typeface="Trebuchet MS" panose="020B0603020202020204" pitchFamily="34" charset="0"/>
              </a:rPr>
              <a:t>knowing that they are making a </a:t>
            </a:r>
          </a:p>
          <a:p>
            <a:r>
              <a:rPr lang="en-US" dirty="0">
                <a:latin typeface="Trebuchet MS" panose="020B0603020202020204" pitchFamily="34" charset="0"/>
              </a:rPr>
              <a:t>material difference to workers’ </a:t>
            </a:r>
          </a:p>
          <a:p>
            <a:r>
              <a:rPr lang="en-US" dirty="0">
                <a:latin typeface="Trebuchet MS" panose="020B0603020202020204" pitchFamily="34" charset="0"/>
              </a:rPr>
              <a:t>lives, promoting sustainable </a:t>
            </a:r>
          </a:p>
          <a:p>
            <a:r>
              <a:rPr lang="en-US" dirty="0">
                <a:latin typeface="Trebuchet MS" panose="020B0603020202020204" pitchFamily="34" charset="0"/>
              </a:rPr>
              <a:t>small business livelihood, and   </a:t>
            </a:r>
          </a:p>
          <a:p>
            <a:r>
              <a:rPr lang="en-US" dirty="0">
                <a:latin typeface="Trebuchet MS" panose="020B0603020202020204" pitchFamily="34" charset="0"/>
              </a:rPr>
              <a:t>enhancing people’s opportunity </a:t>
            </a:r>
          </a:p>
          <a:p>
            <a:r>
              <a:rPr lang="en-US" dirty="0">
                <a:latin typeface="Trebuchet MS" panose="020B0603020202020204" pitchFamily="34" charset="0"/>
              </a:rPr>
              <a:t>for economic progress in some of </a:t>
            </a:r>
          </a:p>
          <a:p>
            <a:r>
              <a:rPr lang="en-US" dirty="0">
                <a:latin typeface="Trebuchet MS" panose="020B0603020202020204" pitchFamily="34" charset="0"/>
              </a:rPr>
              <a:t>The most economically challenged</a:t>
            </a:r>
            <a:r>
              <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a:t>
            </a:r>
          </a:p>
        </p:txBody>
      </p:sp>
      <p:grpSp>
        <p:nvGrpSpPr>
          <p:cNvPr id="58" name="Group 57"/>
          <p:cNvGrpSpPr/>
          <p:nvPr/>
        </p:nvGrpSpPr>
        <p:grpSpPr>
          <a:xfrm>
            <a:off x="4511045" y="992496"/>
            <a:ext cx="2230452" cy="2230451"/>
            <a:chOff x="4720368" y="992496"/>
            <a:chExt cx="2230452" cy="2230451"/>
          </a:xfrm>
        </p:grpSpPr>
        <p:sp>
          <p:nvSpPr>
            <p:cNvPr id="17" name="Oval 193"/>
            <p:cNvSpPr>
              <a:spLocks noChangeArrowheads="1"/>
            </p:cNvSpPr>
            <p:nvPr/>
          </p:nvSpPr>
          <p:spPr bwMode="auto">
            <a:xfrm>
              <a:off x="4720368" y="992496"/>
              <a:ext cx="2230452" cy="2230451"/>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Oval 194"/>
            <p:cNvSpPr>
              <a:spLocks noChangeArrowheads="1"/>
            </p:cNvSpPr>
            <p:nvPr/>
          </p:nvSpPr>
          <p:spPr bwMode="auto">
            <a:xfrm>
              <a:off x="4892729" y="1166563"/>
              <a:ext cx="1884024" cy="1884023"/>
            </a:xfrm>
            <a:prstGeom prst="ellipse">
              <a:avLst/>
            </a:prstGeom>
            <a:solidFill>
              <a:schemeClr val="accent3"/>
            </a:solidFill>
            <a:ln>
              <a:noFill/>
            </a:ln>
            <a:effectLst>
              <a:outerShdw blurRad="101600" dist="38100" dir="5400000" sx="102000" sy="102000" algn="t" rotWithShape="0">
                <a:schemeClr val="accent3">
                  <a:alpha val="40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6"/>
            <p:cNvSpPr>
              <a:spLocks noEditPoints="1"/>
            </p:cNvSpPr>
            <p:nvPr/>
          </p:nvSpPr>
          <p:spPr bwMode="auto">
            <a:xfrm>
              <a:off x="5382303" y="1607607"/>
              <a:ext cx="904875" cy="903288"/>
            </a:xfrm>
            <a:custGeom>
              <a:avLst/>
              <a:gdLst>
                <a:gd name="T0" fmla="*/ 1793 w 3420"/>
                <a:gd name="T1" fmla="*/ 1048 h 3416"/>
                <a:gd name="T2" fmla="*/ 1795 w 3420"/>
                <a:gd name="T3" fmla="*/ 1119 h 3416"/>
                <a:gd name="T4" fmla="*/ 2182 w 3420"/>
                <a:gd name="T5" fmla="*/ 2440 h 3416"/>
                <a:gd name="T6" fmla="*/ 1869 w 3420"/>
                <a:gd name="T7" fmla="*/ 1889 h 3416"/>
                <a:gd name="T8" fmla="*/ 1871 w 3420"/>
                <a:gd name="T9" fmla="*/ 1819 h 3416"/>
                <a:gd name="T10" fmla="*/ 1928 w 3420"/>
                <a:gd name="T11" fmla="*/ 1777 h 3416"/>
                <a:gd name="T12" fmla="*/ 1996 w 3420"/>
                <a:gd name="T13" fmla="*/ 1794 h 3416"/>
                <a:gd name="T14" fmla="*/ 2193 w 3420"/>
                <a:gd name="T15" fmla="*/ 1666 h 3416"/>
                <a:gd name="T16" fmla="*/ 2263 w 3420"/>
                <a:gd name="T17" fmla="*/ 1627 h 3416"/>
                <a:gd name="T18" fmla="*/ 2334 w 3420"/>
                <a:gd name="T19" fmla="*/ 1666 h 3416"/>
                <a:gd name="T20" fmla="*/ 2530 w 3420"/>
                <a:gd name="T21" fmla="*/ 1794 h 3416"/>
                <a:gd name="T22" fmla="*/ 2599 w 3420"/>
                <a:gd name="T23" fmla="*/ 1777 h 3416"/>
                <a:gd name="T24" fmla="*/ 2655 w 3420"/>
                <a:gd name="T25" fmla="*/ 1819 h 3416"/>
                <a:gd name="T26" fmla="*/ 2657 w 3420"/>
                <a:gd name="T27" fmla="*/ 1889 h 3416"/>
                <a:gd name="T28" fmla="*/ 2344 w 3420"/>
                <a:gd name="T29" fmla="*/ 2440 h 3416"/>
                <a:gd name="T30" fmla="*/ 2731 w 3420"/>
                <a:gd name="T31" fmla="*/ 1119 h 3416"/>
                <a:gd name="T32" fmla="*/ 2734 w 3420"/>
                <a:gd name="T33" fmla="*/ 1048 h 3416"/>
                <a:gd name="T34" fmla="*/ 952 w 3420"/>
                <a:gd name="T35" fmla="*/ 0 h 3416"/>
                <a:gd name="T36" fmla="*/ 1021 w 3420"/>
                <a:gd name="T37" fmla="*/ 37 h 3416"/>
                <a:gd name="T38" fmla="*/ 1347 w 3420"/>
                <a:gd name="T39" fmla="*/ 1034 h 3416"/>
                <a:gd name="T40" fmla="*/ 1309 w 3420"/>
                <a:gd name="T41" fmla="*/ 1092 h 3416"/>
                <a:gd name="T42" fmla="*/ 1238 w 3420"/>
                <a:gd name="T43" fmla="*/ 1100 h 3416"/>
                <a:gd name="T44" fmla="*/ 1189 w 3420"/>
                <a:gd name="T45" fmla="*/ 1050 h 3416"/>
                <a:gd name="T46" fmla="*/ 1584 w 3420"/>
                <a:gd name="T47" fmla="*/ 2442 h 3416"/>
                <a:gd name="T48" fmla="*/ 1641 w 3420"/>
                <a:gd name="T49" fmla="*/ 2499 h 3416"/>
                <a:gd name="T50" fmla="*/ 1620 w 3420"/>
                <a:gd name="T51" fmla="*/ 2578 h 3416"/>
                <a:gd name="T52" fmla="*/ 1033 w 3420"/>
                <a:gd name="T53" fmla="*/ 2602 h 3416"/>
                <a:gd name="T54" fmla="*/ 2031 w 3420"/>
                <a:gd name="T55" fmla="*/ 2602 h 3416"/>
                <a:gd name="T56" fmla="*/ 1972 w 3420"/>
                <a:gd name="T57" fmla="*/ 2577 h 3416"/>
                <a:gd name="T58" fmla="*/ 1164 w 3420"/>
                <a:gd name="T59" fmla="*/ 1711 h 3416"/>
                <a:gd name="T60" fmla="*/ 1616 w 3420"/>
                <a:gd name="T61" fmla="*/ 1089 h 3416"/>
                <a:gd name="T62" fmla="*/ 1469 w 3420"/>
                <a:gd name="T63" fmla="*/ 892 h 3416"/>
                <a:gd name="T64" fmla="*/ 2202 w 3420"/>
                <a:gd name="T65" fmla="*/ 27 h 3416"/>
                <a:gd name="T66" fmla="*/ 2263 w 3420"/>
                <a:gd name="T67" fmla="*/ 0 h 3416"/>
                <a:gd name="T68" fmla="*/ 2324 w 3420"/>
                <a:gd name="T69" fmla="*/ 27 h 3416"/>
                <a:gd name="T70" fmla="*/ 3057 w 3420"/>
                <a:gd name="T71" fmla="*/ 892 h 3416"/>
                <a:gd name="T72" fmla="*/ 2911 w 3420"/>
                <a:gd name="T73" fmla="*/ 1089 h 3416"/>
                <a:gd name="T74" fmla="*/ 3362 w 3420"/>
                <a:gd name="T75" fmla="*/ 1711 h 3416"/>
                <a:gd name="T76" fmla="*/ 2554 w 3420"/>
                <a:gd name="T77" fmla="*/ 2577 h 3416"/>
                <a:gd name="T78" fmla="*/ 2496 w 3420"/>
                <a:gd name="T79" fmla="*/ 2602 h 3416"/>
                <a:gd name="T80" fmla="*/ 3359 w 3420"/>
                <a:gd name="T81" fmla="*/ 3255 h 3416"/>
                <a:gd name="T82" fmla="*/ 3417 w 3420"/>
                <a:gd name="T83" fmla="*/ 3313 h 3416"/>
                <a:gd name="T84" fmla="*/ 3396 w 3420"/>
                <a:gd name="T85" fmla="*/ 3392 h 3416"/>
                <a:gd name="T86" fmla="*/ 81 w 3420"/>
                <a:gd name="T87" fmla="*/ 3416 h 3416"/>
                <a:gd name="T88" fmla="*/ 10 w 3420"/>
                <a:gd name="T89" fmla="*/ 3375 h 3416"/>
                <a:gd name="T90" fmla="*/ 10 w 3420"/>
                <a:gd name="T91" fmla="*/ 3293 h 3416"/>
                <a:gd name="T92" fmla="*/ 81 w 3420"/>
                <a:gd name="T93" fmla="*/ 3253 h 3416"/>
                <a:gd name="T94" fmla="*/ 119 w 3420"/>
                <a:gd name="T95" fmla="*/ 2600 h 3416"/>
                <a:gd name="T96" fmla="*/ 62 w 3420"/>
                <a:gd name="T97" fmla="*/ 2551 h 3416"/>
                <a:gd name="T98" fmla="*/ 875 w 3420"/>
                <a:gd name="T99" fmla="*/ 55 h 3416"/>
                <a:gd name="T100" fmla="*/ 932 w 3420"/>
                <a:gd name="T101" fmla="*/ 2 h 3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20" h="3416">
                  <a:moveTo>
                    <a:pt x="2263" y="204"/>
                  </a:moveTo>
                  <a:lnTo>
                    <a:pt x="1659" y="892"/>
                  </a:lnTo>
                  <a:lnTo>
                    <a:pt x="1783" y="1032"/>
                  </a:lnTo>
                  <a:lnTo>
                    <a:pt x="1793" y="1048"/>
                  </a:lnTo>
                  <a:lnTo>
                    <a:pt x="1799" y="1065"/>
                  </a:lnTo>
                  <a:lnTo>
                    <a:pt x="1803" y="1083"/>
                  </a:lnTo>
                  <a:lnTo>
                    <a:pt x="1802" y="1102"/>
                  </a:lnTo>
                  <a:lnTo>
                    <a:pt x="1795" y="1119"/>
                  </a:lnTo>
                  <a:lnTo>
                    <a:pt x="1786" y="1135"/>
                  </a:lnTo>
                  <a:lnTo>
                    <a:pt x="1353" y="1701"/>
                  </a:lnTo>
                  <a:lnTo>
                    <a:pt x="2065" y="2440"/>
                  </a:lnTo>
                  <a:lnTo>
                    <a:pt x="2182" y="2440"/>
                  </a:lnTo>
                  <a:lnTo>
                    <a:pt x="2182" y="2162"/>
                  </a:lnTo>
                  <a:lnTo>
                    <a:pt x="1891" y="1918"/>
                  </a:lnTo>
                  <a:lnTo>
                    <a:pt x="1879" y="1904"/>
                  </a:lnTo>
                  <a:lnTo>
                    <a:pt x="1869" y="1889"/>
                  </a:lnTo>
                  <a:lnTo>
                    <a:pt x="1864" y="1872"/>
                  </a:lnTo>
                  <a:lnTo>
                    <a:pt x="1862" y="1855"/>
                  </a:lnTo>
                  <a:lnTo>
                    <a:pt x="1865" y="1837"/>
                  </a:lnTo>
                  <a:lnTo>
                    <a:pt x="1871" y="1819"/>
                  </a:lnTo>
                  <a:lnTo>
                    <a:pt x="1882" y="1804"/>
                  </a:lnTo>
                  <a:lnTo>
                    <a:pt x="1895" y="1791"/>
                  </a:lnTo>
                  <a:lnTo>
                    <a:pt x="1911" y="1782"/>
                  </a:lnTo>
                  <a:lnTo>
                    <a:pt x="1928" y="1777"/>
                  </a:lnTo>
                  <a:lnTo>
                    <a:pt x="1945" y="1776"/>
                  </a:lnTo>
                  <a:lnTo>
                    <a:pt x="1963" y="1778"/>
                  </a:lnTo>
                  <a:lnTo>
                    <a:pt x="1981" y="1784"/>
                  </a:lnTo>
                  <a:lnTo>
                    <a:pt x="1996" y="1794"/>
                  </a:lnTo>
                  <a:lnTo>
                    <a:pt x="2182" y="1950"/>
                  </a:lnTo>
                  <a:lnTo>
                    <a:pt x="2182" y="1708"/>
                  </a:lnTo>
                  <a:lnTo>
                    <a:pt x="2185" y="1686"/>
                  </a:lnTo>
                  <a:lnTo>
                    <a:pt x="2193" y="1666"/>
                  </a:lnTo>
                  <a:lnTo>
                    <a:pt x="2206" y="1651"/>
                  </a:lnTo>
                  <a:lnTo>
                    <a:pt x="2222" y="1637"/>
                  </a:lnTo>
                  <a:lnTo>
                    <a:pt x="2242" y="1629"/>
                  </a:lnTo>
                  <a:lnTo>
                    <a:pt x="2263" y="1627"/>
                  </a:lnTo>
                  <a:lnTo>
                    <a:pt x="2285" y="1629"/>
                  </a:lnTo>
                  <a:lnTo>
                    <a:pt x="2304" y="1637"/>
                  </a:lnTo>
                  <a:lnTo>
                    <a:pt x="2321" y="1651"/>
                  </a:lnTo>
                  <a:lnTo>
                    <a:pt x="2334" y="1666"/>
                  </a:lnTo>
                  <a:lnTo>
                    <a:pt x="2342" y="1686"/>
                  </a:lnTo>
                  <a:lnTo>
                    <a:pt x="2344" y="1708"/>
                  </a:lnTo>
                  <a:lnTo>
                    <a:pt x="2344" y="1950"/>
                  </a:lnTo>
                  <a:lnTo>
                    <a:pt x="2530" y="1794"/>
                  </a:lnTo>
                  <a:lnTo>
                    <a:pt x="2546" y="1784"/>
                  </a:lnTo>
                  <a:lnTo>
                    <a:pt x="2564" y="1778"/>
                  </a:lnTo>
                  <a:lnTo>
                    <a:pt x="2581" y="1776"/>
                  </a:lnTo>
                  <a:lnTo>
                    <a:pt x="2599" y="1777"/>
                  </a:lnTo>
                  <a:lnTo>
                    <a:pt x="2616" y="1782"/>
                  </a:lnTo>
                  <a:lnTo>
                    <a:pt x="2631" y="1791"/>
                  </a:lnTo>
                  <a:lnTo>
                    <a:pt x="2645" y="1804"/>
                  </a:lnTo>
                  <a:lnTo>
                    <a:pt x="2655" y="1819"/>
                  </a:lnTo>
                  <a:lnTo>
                    <a:pt x="2662" y="1837"/>
                  </a:lnTo>
                  <a:lnTo>
                    <a:pt x="2664" y="1855"/>
                  </a:lnTo>
                  <a:lnTo>
                    <a:pt x="2663" y="1872"/>
                  </a:lnTo>
                  <a:lnTo>
                    <a:pt x="2657" y="1889"/>
                  </a:lnTo>
                  <a:lnTo>
                    <a:pt x="2648" y="1904"/>
                  </a:lnTo>
                  <a:lnTo>
                    <a:pt x="2636" y="1918"/>
                  </a:lnTo>
                  <a:lnTo>
                    <a:pt x="2344" y="2162"/>
                  </a:lnTo>
                  <a:lnTo>
                    <a:pt x="2344" y="2440"/>
                  </a:lnTo>
                  <a:lnTo>
                    <a:pt x="2462" y="2440"/>
                  </a:lnTo>
                  <a:lnTo>
                    <a:pt x="3174" y="1701"/>
                  </a:lnTo>
                  <a:lnTo>
                    <a:pt x="2741" y="1135"/>
                  </a:lnTo>
                  <a:lnTo>
                    <a:pt x="2731" y="1119"/>
                  </a:lnTo>
                  <a:lnTo>
                    <a:pt x="2725" y="1102"/>
                  </a:lnTo>
                  <a:lnTo>
                    <a:pt x="2724" y="1083"/>
                  </a:lnTo>
                  <a:lnTo>
                    <a:pt x="2726" y="1065"/>
                  </a:lnTo>
                  <a:lnTo>
                    <a:pt x="2734" y="1048"/>
                  </a:lnTo>
                  <a:lnTo>
                    <a:pt x="2744" y="1032"/>
                  </a:lnTo>
                  <a:lnTo>
                    <a:pt x="2868" y="892"/>
                  </a:lnTo>
                  <a:lnTo>
                    <a:pt x="2263" y="204"/>
                  </a:lnTo>
                  <a:close/>
                  <a:moveTo>
                    <a:pt x="952" y="0"/>
                  </a:moveTo>
                  <a:lnTo>
                    <a:pt x="973" y="2"/>
                  </a:lnTo>
                  <a:lnTo>
                    <a:pt x="991" y="10"/>
                  </a:lnTo>
                  <a:lnTo>
                    <a:pt x="1007" y="22"/>
                  </a:lnTo>
                  <a:lnTo>
                    <a:pt x="1021" y="37"/>
                  </a:lnTo>
                  <a:lnTo>
                    <a:pt x="1029" y="55"/>
                  </a:lnTo>
                  <a:lnTo>
                    <a:pt x="1343" y="998"/>
                  </a:lnTo>
                  <a:lnTo>
                    <a:pt x="1347" y="1016"/>
                  </a:lnTo>
                  <a:lnTo>
                    <a:pt x="1347" y="1034"/>
                  </a:lnTo>
                  <a:lnTo>
                    <a:pt x="1343" y="1052"/>
                  </a:lnTo>
                  <a:lnTo>
                    <a:pt x="1335" y="1067"/>
                  </a:lnTo>
                  <a:lnTo>
                    <a:pt x="1324" y="1082"/>
                  </a:lnTo>
                  <a:lnTo>
                    <a:pt x="1309" y="1092"/>
                  </a:lnTo>
                  <a:lnTo>
                    <a:pt x="1292" y="1101"/>
                  </a:lnTo>
                  <a:lnTo>
                    <a:pt x="1274" y="1105"/>
                  </a:lnTo>
                  <a:lnTo>
                    <a:pt x="1256" y="1104"/>
                  </a:lnTo>
                  <a:lnTo>
                    <a:pt x="1238" y="1100"/>
                  </a:lnTo>
                  <a:lnTo>
                    <a:pt x="1223" y="1091"/>
                  </a:lnTo>
                  <a:lnTo>
                    <a:pt x="1209" y="1081"/>
                  </a:lnTo>
                  <a:lnTo>
                    <a:pt x="1198" y="1066"/>
                  </a:lnTo>
                  <a:lnTo>
                    <a:pt x="1189" y="1050"/>
                  </a:lnTo>
                  <a:lnTo>
                    <a:pt x="952" y="338"/>
                  </a:lnTo>
                  <a:lnTo>
                    <a:pt x="251" y="2440"/>
                  </a:lnTo>
                  <a:lnTo>
                    <a:pt x="1563" y="2440"/>
                  </a:lnTo>
                  <a:lnTo>
                    <a:pt x="1584" y="2442"/>
                  </a:lnTo>
                  <a:lnTo>
                    <a:pt x="1604" y="2450"/>
                  </a:lnTo>
                  <a:lnTo>
                    <a:pt x="1620" y="2463"/>
                  </a:lnTo>
                  <a:lnTo>
                    <a:pt x="1633" y="2480"/>
                  </a:lnTo>
                  <a:lnTo>
                    <a:pt x="1641" y="2499"/>
                  </a:lnTo>
                  <a:lnTo>
                    <a:pt x="1644" y="2521"/>
                  </a:lnTo>
                  <a:lnTo>
                    <a:pt x="1641" y="2542"/>
                  </a:lnTo>
                  <a:lnTo>
                    <a:pt x="1633" y="2562"/>
                  </a:lnTo>
                  <a:lnTo>
                    <a:pt x="1620" y="2578"/>
                  </a:lnTo>
                  <a:lnTo>
                    <a:pt x="1604" y="2591"/>
                  </a:lnTo>
                  <a:lnTo>
                    <a:pt x="1584" y="2599"/>
                  </a:lnTo>
                  <a:lnTo>
                    <a:pt x="1563" y="2602"/>
                  </a:lnTo>
                  <a:lnTo>
                    <a:pt x="1033" y="2602"/>
                  </a:lnTo>
                  <a:lnTo>
                    <a:pt x="1033" y="3253"/>
                  </a:lnTo>
                  <a:lnTo>
                    <a:pt x="2182" y="3253"/>
                  </a:lnTo>
                  <a:lnTo>
                    <a:pt x="2182" y="2602"/>
                  </a:lnTo>
                  <a:lnTo>
                    <a:pt x="2031" y="2602"/>
                  </a:lnTo>
                  <a:lnTo>
                    <a:pt x="2014" y="2600"/>
                  </a:lnTo>
                  <a:lnTo>
                    <a:pt x="1998" y="2596"/>
                  </a:lnTo>
                  <a:lnTo>
                    <a:pt x="1985" y="2588"/>
                  </a:lnTo>
                  <a:lnTo>
                    <a:pt x="1972" y="2577"/>
                  </a:lnTo>
                  <a:lnTo>
                    <a:pt x="1187" y="1763"/>
                  </a:lnTo>
                  <a:lnTo>
                    <a:pt x="1175" y="1747"/>
                  </a:lnTo>
                  <a:lnTo>
                    <a:pt x="1167" y="1730"/>
                  </a:lnTo>
                  <a:lnTo>
                    <a:pt x="1164" y="1711"/>
                  </a:lnTo>
                  <a:lnTo>
                    <a:pt x="1165" y="1692"/>
                  </a:lnTo>
                  <a:lnTo>
                    <a:pt x="1170" y="1675"/>
                  </a:lnTo>
                  <a:lnTo>
                    <a:pt x="1181" y="1657"/>
                  </a:lnTo>
                  <a:lnTo>
                    <a:pt x="1616" y="1089"/>
                  </a:lnTo>
                  <a:lnTo>
                    <a:pt x="1489" y="946"/>
                  </a:lnTo>
                  <a:lnTo>
                    <a:pt x="1479" y="929"/>
                  </a:lnTo>
                  <a:lnTo>
                    <a:pt x="1471" y="911"/>
                  </a:lnTo>
                  <a:lnTo>
                    <a:pt x="1469" y="892"/>
                  </a:lnTo>
                  <a:lnTo>
                    <a:pt x="1471" y="873"/>
                  </a:lnTo>
                  <a:lnTo>
                    <a:pt x="1479" y="855"/>
                  </a:lnTo>
                  <a:lnTo>
                    <a:pt x="1489" y="838"/>
                  </a:lnTo>
                  <a:lnTo>
                    <a:pt x="2202" y="27"/>
                  </a:lnTo>
                  <a:lnTo>
                    <a:pt x="2215" y="16"/>
                  </a:lnTo>
                  <a:lnTo>
                    <a:pt x="2230" y="8"/>
                  </a:lnTo>
                  <a:lnTo>
                    <a:pt x="2246" y="2"/>
                  </a:lnTo>
                  <a:lnTo>
                    <a:pt x="2263" y="0"/>
                  </a:lnTo>
                  <a:lnTo>
                    <a:pt x="2281" y="2"/>
                  </a:lnTo>
                  <a:lnTo>
                    <a:pt x="2297" y="8"/>
                  </a:lnTo>
                  <a:lnTo>
                    <a:pt x="2312" y="16"/>
                  </a:lnTo>
                  <a:lnTo>
                    <a:pt x="2324" y="27"/>
                  </a:lnTo>
                  <a:lnTo>
                    <a:pt x="3037" y="838"/>
                  </a:lnTo>
                  <a:lnTo>
                    <a:pt x="3048" y="855"/>
                  </a:lnTo>
                  <a:lnTo>
                    <a:pt x="3055" y="873"/>
                  </a:lnTo>
                  <a:lnTo>
                    <a:pt x="3057" y="892"/>
                  </a:lnTo>
                  <a:lnTo>
                    <a:pt x="3055" y="911"/>
                  </a:lnTo>
                  <a:lnTo>
                    <a:pt x="3048" y="929"/>
                  </a:lnTo>
                  <a:lnTo>
                    <a:pt x="3037" y="946"/>
                  </a:lnTo>
                  <a:lnTo>
                    <a:pt x="2911" y="1089"/>
                  </a:lnTo>
                  <a:lnTo>
                    <a:pt x="3346" y="1657"/>
                  </a:lnTo>
                  <a:lnTo>
                    <a:pt x="3355" y="1675"/>
                  </a:lnTo>
                  <a:lnTo>
                    <a:pt x="3361" y="1692"/>
                  </a:lnTo>
                  <a:lnTo>
                    <a:pt x="3362" y="1711"/>
                  </a:lnTo>
                  <a:lnTo>
                    <a:pt x="3359" y="1730"/>
                  </a:lnTo>
                  <a:lnTo>
                    <a:pt x="3351" y="1747"/>
                  </a:lnTo>
                  <a:lnTo>
                    <a:pt x="3340" y="1763"/>
                  </a:lnTo>
                  <a:lnTo>
                    <a:pt x="2554" y="2577"/>
                  </a:lnTo>
                  <a:lnTo>
                    <a:pt x="2542" y="2588"/>
                  </a:lnTo>
                  <a:lnTo>
                    <a:pt x="2527" y="2596"/>
                  </a:lnTo>
                  <a:lnTo>
                    <a:pt x="2512" y="2600"/>
                  </a:lnTo>
                  <a:lnTo>
                    <a:pt x="2496" y="2602"/>
                  </a:lnTo>
                  <a:lnTo>
                    <a:pt x="2344" y="2602"/>
                  </a:lnTo>
                  <a:lnTo>
                    <a:pt x="2344" y="3253"/>
                  </a:lnTo>
                  <a:lnTo>
                    <a:pt x="3339" y="3253"/>
                  </a:lnTo>
                  <a:lnTo>
                    <a:pt x="3359" y="3255"/>
                  </a:lnTo>
                  <a:lnTo>
                    <a:pt x="3379" y="3264"/>
                  </a:lnTo>
                  <a:lnTo>
                    <a:pt x="3396" y="3276"/>
                  </a:lnTo>
                  <a:lnTo>
                    <a:pt x="3408" y="3293"/>
                  </a:lnTo>
                  <a:lnTo>
                    <a:pt x="3417" y="3313"/>
                  </a:lnTo>
                  <a:lnTo>
                    <a:pt x="3420" y="3334"/>
                  </a:lnTo>
                  <a:lnTo>
                    <a:pt x="3417" y="3355"/>
                  </a:lnTo>
                  <a:lnTo>
                    <a:pt x="3408" y="3375"/>
                  </a:lnTo>
                  <a:lnTo>
                    <a:pt x="3396" y="3392"/>
                  </a:lnTo>
                  <a:lnTo>
                    <a:pt x="3379" y="3404"/>
                  </a:lnTo>
                  <a:lnTo>
                    <a:pt x="3359" y="3412"/>
                  </a:lnTo>
                  <a:lnTo>
                    <a:pt x="3339" y="3416"/>
                  </a:lnTo>
                  <a:lnTo>
                    <a:pt x="81" y="3416"/>
                  </a:lnTo>
                  <a:lnTo>
                    <a:pt x="59" y="3412"/>
                  </a:lnTo>
                  <a:lnTo>
                    <a:pt x="40" y="3404"/>
                  </a:lnTo>
                  <a:lnTo>
                    <a:pt x="24" y="3392"/>
                  </a:lnTo>
                  <a:lnTo>
                    <a:pt x="10" y="3375"/>
                  </a:lnTo>
                  <a:lnTo>
                    <a:pt x="2" y="3355"/>
                  </a:lnTo>
                  <a:lnTo>
                    <a:pt x="0" y="3334"/>
                  </a:lnTo>
                  <a:lnTo>
                    <a:pt x="2" y="3313"/>
                  </a:lnTo>
                  <a:lnTo>
                    <a:pt x="10" y="3293"/>
                  </a:lnTo>
                  <a:lnTo>
                    <a:pt x="24" y="3276"/>
                  </a:lnTo>
                  <a:lnTo>
                    <a:pt x="40" y="3264"/>
                  </a:lnTo>
                  <a:lnTo>
                    <a:pt x="59" y="3255"/>
                  </a:lnTo>
                  <a:lnTo>
                    <a:pt x="81" y="3253"/>
                  </a:lnTo>
                  <a:lnTo>
                    <a:pt x="871" y="3253"/>
                  </a:lnTo>
                  <a:lnTo>
                    <a:pt x="871" y="2602"/>
                  </a:lnTo>
                  <a:lnTo>
                    <a:pt x="137" y="2602"/>
                  </a:lnTo>
                  <a:lnTo>
                    <a:pt x="119" y="2600"/>
                  </a:lnTo>
                  <a:lnTo>
                    <a:pt x="101" y="2593"/>
                  </a:lnTo>
                  <a:lnTo>
                    <a:pt x="85" y="2583"/>
                  </a:lnTo>
                  <a:lnTo>
                    <a:pt x="72" y="2568"/>
                  </a:lnTo>
                  <a:lnTo>
                    <a:pt x="62" y="2551"/>
                  </a:lnTo>
                  <a:lnTo>
                    <a:pt x="57" y="2533"/>
                  </a:lnTo>
                  <a:lnTo>
                    <a:pt x="57" y="2514"/>
                  </a:lnTo>
                  <a:lnTo>
                    <a:pt x="60" y="2495"/>
                  </a:lnTo>
                  <a:lnTo>
                    <a:pt x="875" y="55"/>
                  </a:lnTo>
                  <a:lnTo>
                    <a:pt x="884" y="37"/>
                  </a:lnTo>
                  <a:lnTo>
                    <a:pt x="897" y="22"/>
                  </a:lnTo>
                  <a:lnTo>
                    <a:pt x="913" y="10"/>
                  </a:lnTo>
                  <a:lnTo>
                    <a:pt x="932" y="2"/>
                  </a:lnTo>
                  <a:lnTo>
                    <a:pt x="95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Subtitle 2"/>
          <p:cNvSpPr txBox="1">
            <a:spLocks/>
          </p:cNvSpPr>
          <p:nvPr/>
        </p:nvSpPr>
        <p:spPr>
          <a:xfrm flipH="1">
            <a:off x="4252511" y="5707098"/>
            <a:ext cx="2721166" cy="351608"/>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buNone/>
            </a:pPr>
            <a:r>
              <a:rPr lang="en-US" sz="1800" dirty="0">
                <a:solidFill>
                  <a:schemeClr val="bg1"/>
                </a:solidFill>
                <a:latin typeface="Trebuchet MS" panose="020B0603020202020204" pitchFamily="34" charset="0"/>
              </a:rPr>
              <a:t>Ethics &amp; CSR – To Us , Ethical Production Means</a:t>
            </a:r>
            <a:endParaRPr kumimoji="0" lang="en-US" sz="1800" b="0" i="0" u="none" strike="noStrike" kern="1200" cap="none" spc="-150" normalizeH="0" baseline="0" noProof="0" dirty="0">
              <a:ln>
                <a:noFill/>
              </a:ln>
              <a:solidFill>
                <a:schemeClr val="bg1"/>
              </a:solidFill>
              <a:effectLst/>
              <a:uLnTx/>
              <a:uFillTx/>
              <a:latin typeface="Trebuchet MS" panose="020B0603020202020204" pitchFamily="34" charset="0"/>
            </a:endParaRPr>
          </a:p>
        </p:txBody>
      </p:sp>
      <p:grpSp>
        <p:nvGrpSpPr>
          <p:cNvPr id="55" name="Group 54"/>
          <p:cNvGrpSpPr/>
          <p:nvPr/>
        </p:nvGrpSpPr>
        <p:grpSpPr>
          <a:xfrm>
            <a:off x="3845493" y="2562515"/>
            <a:ext cx="1651934" cy="1648520"/>
            <a:chOff x="4054816" y="2562515"/>
            <a:chExt cx="1651934" cy="1648520"/>
          </a:xfrm>
        </p:grpSpPr>
        <p:sp>
          <p:nvSpPr>
            <p:cNvPr id="21" name="Oval 197"/>
            <p:cNvSpPr>
              <a:spLocks noChangeArrowheads="1"/>
            </p:cNvSpPr>
            <p:nvPr/>
          </p:nvSpPr>
          <p:spPr bwMode="auto">
            <a:xfrm>
              <a:off x="4054816" y="2562515"/>
              <a:ext cx="1651934" cy="1648520"/>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Oval 198"/>
            <p:cNvSpPr>
              <a:spLocks noChangeArrowheads="1"/>
            </p:cNvSpPr>
            <p:nvPr/>
          </p:nvSpPr>
          <p:spPr bwMode="auto">
            <a:xfrm>
              <a:off x="4204992" y="2712691"/>
              <a:ext cx="1351582" cy="1349875"/>
            </a:xfrm>
            <a:prstGeom prst="ellipse">
              <a:avLst/>
            </a:prstGeom>
            <a:solidFill>
              <a:schemeClr val="accent2"/>
            </a:solidFill>
            <a:ln>
              <a:noFill/>
            </a:ln>
            <a:effectLst>
              <a:outerShdw blurRad="127000" dist="38100" dir="5400000" sx="102000" sy="102000" algn="t" rotWithShape="0">
                <a:schemeClr val="accent2">
                  <a:alpha val="40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1"/>
            <p:cNvSpPr>
              <a:spLocks noEditPoints="1"/>
            </p:cNvSpPr>
            <p:nvPr/>
          </p:nvSpPr>
          <p:spPr bwMode="auto">
            <a:xfrm>
              <a:off x="4528428" y="3041073"/>
              <a:ext cx="698500" cy="609600"/>
            </a:xfrm>
            <a:custGeom>
              <a:avLst/>
              <a:gdLst>
                <a:gd name="T0" fmla="*/ 1622 w 3518"/>
                <a:gd name="T1" fmla="*/ 1779 h 3068"/>
                <a:gd name="T2" fmla="*/ 1541 w 3518"/>
                <a:gd name="T3" fmla="*/ 1973 h 3068"/>
                <a:gd name="T4" fmla="*/ 1542 w 3518"/>
                <a:gd name="T5" fmla="*/ 2115 h 3068"/>
                <a:gd name="T6" fmla="*/ 1687 w 3518"/>
                <a:gd name="T7" fmla="*/ 2268 h 3068"/>
                <a:gd name="T8" fmla="*/ 2038 w 3518"/>
                <a:gd name="T9" fmla="*/ 2316 h 3068"/>
                <a:gd name="T10" fmla="*/ 2198 w 3518"/>
                <a:gd name="T11" fmla="*/ 2200 h 3068"/>
                <a:gd name="T12" fmla="*/ 2118 w 3518"/>
                <a:gd name="T13" fmla="*/ 1990 h 3068"/>
                <a:gd name="T14" fmla="*/ 1823 w 3518"/>
                <a:gd name="T15" fmla="*/ 1735 h 3068"/>
                <a:gd name="T16" fmla="*/ 1681 w 3518"/>
                <a:gd name="T17" fmla="*/ 0 h 3068"/>
                <a:gd name="T18" fmla="*/ 1782 w 3518"/>
                <a:gd name="T19" fmla="*/ 94 h 3068"/>
                <a:gd name="T20" fmla="*/ 1945 w 3518"/>
                <a:gd name="T21" fmla="*/ 309 h 3068"/>
                <a:gd name="T22" fmla="*/ 1972 w 3518"/>
                <a:gd name="T23" fmla="*/ 593 h 3068"/>
                <a:gd name="T24" fmla="*/ 1838 w 3518"/>
                <a:gd name="T25" fmla="*/ 775 h 3068"/>
                <a:gd name="T26" fmla="*/ 1964 w 3518"/>
                <a:gd name="T27" fmla="*/ 812 h 3068"/>
                <a:gd name="T28" fmla="*/ 2260 w 3518"/>
                <a:gd name="T29" fmla="*/ 768 h 3068"/>
                <a:gd name="T30" fmla="*/ 2393 w 3518"/>
                <a:gd name="T31" fmla="*/ 778 h 3068"/>
                <a:gd name="T32" fmla="*/ 2320 w 3518"/>
                <a:gd name="T33" fmla="*/ 965 h 3068"/>
                <a:gd name="T34" fmla="*/ 2140 w 3518"/>
                <a:gd name="T35" fmla="*/ 1204 h 3068"/>
                <a:gd name="T36" fmla="*/ 1861 w 3518"/>
                <a:gd name="T37" fmla="*/ 1263 h 3068"/>
                <a:gd name="T38" fmla="*/ 1763 w 3518"/>
                <a:gd name="T39" fmla="*/ 1198 h 3068"/>
                <a:gd name="T40" fmla="*/ 1775 w 3518"/>
                <a:gd name="T41" fmla="*/ 1432 h 3068"/>
                <a:gd name="T42" fmla="*/ 1993 w 3518"/>
                <a:gd name="T43" fmla="*/ 1478 h 3068"/>
                <a:gd name="T44" fmla="*/ 2289 w 3518"/>
                <a:gd name="T45" fmla="*/ 1652 h 3068"/>
                <a:gd name="T46" fmla="*/ 2865 w 3518"/>
                <a:gd name="T47" fmla="*/ 1924 h 3068"/>
                <a:gd name="T48" fmla="*/ 3320 w 3518"/>
                <a:gd name="T49" fmla="*/ 2233 h 3068"/>
                <a:gd name="T50" fmla="*/ 3478 w 3518"/>
                <a:gd name="T51" fmla="*/ 3051 h 3068"/>
                <a:gd name="T52" fmla="*/ 3066 w 3518"/>
                <a:gd name="T53" fmla="*/ 2908 h 3068"/>
                <a:gd name="T54" fmla="*/ 2739 w 3518"/>
                <a:gd name="T55" fmla="*/ 2853 h 3068"/>
                <a:gd name="T56" fmla="*/ 2343 w 3518"/>
                <a:gd name="T57" fmla="*/ 2887 h 3068"/>
                <a:gd name="T58" fmla="*/ 1866 w 3518"/>
                <a:gd name="T59" fmla="*/ 2926 h 3068"/>
                <a:gd name="T60" fmla="*/ 1574 w 3518"/>
                <a:gd name="T61" fmla="*/ 2898 h 3068"/>
                <a:gd name="T62" fmla="*/ 1269 w 3518"/>
                <a:gd name="T63" fmla="*/ 2713 h 3068"/>
                <a:gd name="T64" fmla="*/ 842 w 3518"/>
                <a:gd name="T65" fmla="*/ 2414 h 3068"/>
                <a:gd name="T66" fmla="*/ 428 w 3518"/>
                <a:gd name="T67" fmla="*/ 2114 h 3068"/>
                <a:gd name="T68" fmla="*/ 126 w 3518"/>
                <a:gd name="T69" fmla="*/ 1895 h 3068"/>
                <a:gd name="T70" fmla="*/ 0 w 3518"/>
                <a:gd name="T71" fmla="*/ 1719 h 3068"/>
                <a:gd name="T72" fmla="*/ 96 w 3518"/>
                <a:gd name="T73" fmla="*/ 1641 h 3068"/>
                <a:gd name="T74" fmla="*/ 281 w 3518"/>
                <a:gd name="T75" fmla="*/ 1645 h 3068"/>
                <a:gd name="T76" fmla="*/ 496 w 3518"/>
                <a:gd name="T77" fmla="*/ 1731 h 3068"/>
                <a:gd name="T78" fmla="*/ 821 w 3518"/>
                <a:gd name="T79" fmla="*/ 1900 h 3068"/>
                <a:gd name="T80" fmla="*/ 1093 w 3518"/>
                <a:gd name="T81" fmla="*/ 2048 h 3068"/>
                <a:gd name="T82" fmla="*/ 1161 w 3518"/>
                <a:gd name="T83" fmla="*/ 1977 h 3068"/>
                <a:gd name="T84" fmla="*/ 1249 w 3518"/>
                <a:gd name="T85" fmla="*/ 1774 h 3068"/>
                <a:gd name="T86" fmla="*/ 1395 w 3518"/>
                <a:gd name="T87" fmla="*/ 1592 h 3068"/>
                <a:gd name="T88" fmla="*/ 1574 w 3518"/>
                <a:gd name="T89" fmla="*/ 1436 h 3068"/>
                <a:gd name="T90" fmla="*/ 1664 w 3518"/>
                <a:gd name="T91" fmla="*/ 1443 h 3068"/>
                <a:gd name="T92" fmla="*/ 1680 w 3518"/>
                <a:gd name="T93" fmla="*/ 1218 h 3068"/>
                <a:gd name="T94" fmla="*/ 1566 w 3518"/>
                <a:gd name="T95" fmla="*/ 1227 h 3068"/>
                <a:gd name="T96" fmla="*/ 1299 w 3518"/>
                <a:gd name="T97" fmla="*/ 1067 h 3068"/>
                <a:gd name="T98" fmla="*/ 1201 w 3518"/>
                <a:gd name="T99" fmla="*/ 764 h 3068"/>
                <a:gd name="T100" fmla="*/ 1192 w 3518"/>
                <a:gd name="T101" fmla="*/ 616 h 3068"/>
                <a:gd name="T102" fmla="*/ 1387 w 3518"/>
                <a:gd name="T103" fmla="*/ 663 h 3068"/>
                <a:gd name="T104" fmla="*/ 1646 w 3518"/>
                <a:gd name="T105" fmla="*/ 811 h 3068"/>
                <a:gd name="T106" fmla="*/ 1732 w 3518"/>
                <a:gd name="T107" fmla="*/ 731 h 3068"/>
                <a:gd name="T108" fmla="*/ 1562 w 3518"/>
                <a:gd name="T109" fmla="*/ 529 h 3068"/>
                <a:gd name="T110" fmla="*/ 1579 w 3518"/>
                <a:gd name="T111" fmla="*/ 235 h 3068"/>
                <a:gd name="T112" fmla="*/ 1669 w 3518"/>
                <a:gd name="T113" fmla="*/ 22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18" h="3068">
                  <a:moveTo>
                    <a:pt x="1691" y="1542"/>
                  </a:moveTo>
                  <a:lnTo>
                    <a:pt x="1689" y="1566"/>
                  </a:lnTo>
                  <a:lnTo>
                    <a:pt x="1684" y="1593"/>
                  </a:lnTo>
                  <a:lnTo>
                    <a:pt x="1676" y="1623"/>
                  </a:lnTo>
                  <a:lnTo>
                    <a:pt x="1667" y="1656"/>
                  </a:lnTo>
                  <a:lnTo>
                    <a:pt x="1654" y="1693"/>
                  </a:lnTo>
                  <a:lnTo>
                    <a:pt x="1639" y="1734"/>
                  </a:lnTo>
                  <a:lnTo>
                    <a:pt x="1622" y="1779"/>
                  </a:lnTo>
                  <a:lnTo>
                    <a:pt x="1601" y="1828"/>
                  </a:lnTo>
                  <a:lnTo>
                    <a:pt x="1578" y="1882"/>
                  </a:lnTo>
                  <a:lnTo>
                    <a:pt x="1551" y="1940"/>
                  </a:lnTo>
                  <a:lnTo>
                    <a:pt x="1550" y="1942"/>
                  </a:lnTo>
                  <a:lnTo>
                    <a:pt x="1549" y="1946"/>
                  </a:lnTo>
                  <a:lnTo>
                    <a:pt x="1547" y="1953"/>
                  </a:lnTo>
                  <a:lnTo>
                    <a:pt x="1544" y="1962"/>
                  </a:lnTo>
                  <a:lnTo>
                    <a:pt x="1541" y="1973"/>
                  </a:lnTo>
                  <a:lnTo>
                    <a:pt x="1537" y="1987"/>
                  </a:lnTo>
                  <a:lnTo>
                    <a:pt x="1535" y="2002"/>
                  </a:lnTo>
                  <a:lnTo>
                    <a:pt x="1533" y="2018"/>
                  </a:lnTo>
                  <a:lnTo>
                    <a:pt x="1532" y="2036"/>
                  </a:lnTo>
                  <a:lnTo>
                    <a:pt x="1532" y="2055"/>
                  </a:lnTo>
                  <a:lnTo>
                    <a:pt x="1533" y="2075"/>
                  </a:lnTo>
                  <a:lnTo>
                    <a:pt x="1536" y="2095"/>
                  </a:lnTo>
                  <a:lnTo>
                    <a:pt x="1542" y="2115"/>
                  </a:lnTo>
                  <a:lnTo>
                    <a:pt x="1549" y="2137"/>
                  </a:lnTo>
                  <a:lnTo>
                    <a:pt x="1559" y="2157"/>
                  </a:lnTo>
                  <a:lnTo>
                    <a:pt x="1572" y="2177"/>
                  </a:lnTo>
                  <a:lnTo>
                    <a:pt x="1588" y="2198"/>
                  </a:lnTo>
                  <a:lnTo>
                    <a:pt x="1607" y="2217"/>
                  </a:lnTo>
                  <a:lnTo>
                    <a:pt x="1629" y="2235"/>
                  </a:lnTo>
                  <a:lnTo>
                    <a:pt x="1656" y="2252"/>
                  </a:lnTo>
                  <a:lnTo>
                    <a:pt x="1687" y="2268"/>
                  </a:lnTo>
                  <a:lnTo>
                    <a:pt x="1722" y="2282"/>
                  </a:lnTo>
                  <a:lnTo>
                    <a:pt x="1762" y="2295"/>
                  </a:lnTo>
                  <a:lnTo>
                    <a:pt x="1807" y="2306"/>
                  </a:lnTo>
                  <a:lnTo>
                    <a:pt x="1857" y="2313"/>
                  </a:lnTo>
                  <a:lnTo>
                    <a:pt x="1909" y="2319"/>
                  </a:lnTo>
                  <a:lnTo>
                    <a:pt x="1956" y="2321"/>
                  </a:lnTo>
                  <a:lnTo>
                    <a:pt x="1999" y="2320"/>
                  </a:lnTo>
                  <a:lnTo>
                    <a:pt x="2038" y="2316"/>
                  </a:lnTo>
                  <a:lnTo>
                    <a:pt x="2072" y="2309"/>
                  </a:lnTo>
                  <a:lnTo>
                    <a:pt x="2102" y="2301"/>
                  </a:lnTo>
                  <a:lnTo>
                    <a:pt x="2129" y="2289"/>
                  </a:lnTo>
                  <a:lnTo>
                    <a:pt x="2150" y="2275"/>
                  </a:lnTo>
                  <a:lnTo>
                    <a:pt x="2168" y="2259"/>
                  </a:lnTo>
                  <a:lnTo>
                    <a:pt x="2182" y="2241"/>
                  </a:lnTo>
                  <a:lnTo>
                    <a:pt x="2192" y="2221"/>
                  </a:lnTo>
                  <a:lnTo>
                    <a:pt x="2198" y="2200"/>
                  </a:lnTo>
                  <a:lnTo>
                    <a:pt x="2200" y="2177"/>
                  </a:lnTo>
                  <a:lnTo>
                    <a:pt x="2199" y="2153"/>
                  </a:lnTo>
                  <a:lnTo>
                    <a:pt x="2194" y="2127"/>
                  </a:lnTo>
                  <a:lnTo>
                    <a:pt x="2185" y="2101"/>
                  </a:lnTo>
                  <a:lnTo>
                    <a:pt x="2173" y="2075"/>
                  </a:lnTo>
                  <a:lnTo>
                    <a:pt x="2158" y="2047"/>
                  </a:lnTo>
                  <a:lnTo>
                    <a:pt x="2139" y="2019"/>
                  </a:lnTo>
                  <a:lnTo>
                    <a:pt x="2118" y="1990"/>
                  </a:lnTo>
                  <a:lnTo>
                    <a:pt x="2092" y="1961"/>
                  </a:lnTo>
                  <a:lnTo>
                    <a:pt x="2064" y="1933"/>
                  </a:lnTo>
                  <a:lnTo>
                    <a:pt x="2032" y="1904"/>
                  </a:lnTo>
                  <a:lnTo>
                    <a:pt x="1998" y="1877"/>
                  </a:lnTo>
                  <a:lnTo>
                    <a:pt x="1961" y="1849"/>
                  </a:lnTo>
                  <a:lnTo>
                    <a:pt x="1909" y="1810"/>
                  </a:lnTo>
                  <a:lnTo>
                    <a:pt x="1863" y="1773"/>
                  </a:lnTo>
                  <a:lnTo>
                    <a:pt x="1823" y="1735"/>
                  </a:lnTo>
                  <a:lnTo>
                    <a:pt x="1789" y="1699"/>
                  </a:lnTo>
                  <a:lnTo>
                    <a:pt x="1760" y="1665"/>
                  </a:lnTo>
                  <a:lnTo>
                    <a:pt x="1736" y="1630"/>
                  </a:lnTo>
                  <a:lnTo>
                    <a:pt x="1718" y="1599"/>
                  </a:lnTo>
                  <a:lnTo>
                    <a:pt x="1705" y="1569"/>
                  </a:lnTo>
                  <a:lnTo>
                    <a:pt x="1698" y="1542"/>
                  </a:lnTo>
                  <a:lnTo>
                    <a:pt x="1691" y="1542"/>
                  </a:lnTo>
                  <a:close/>
                  <a:moveTo>
                    <a:pt x="1681" y="0"/>
                  </a:moveTo>
                  <a:lnTo>
                    <a:pt x="1683" y="2"/>
                  </a:lnTo>
                  <a:lnTo>
                    <a:pt x="1688" y="6"/>
                  </a:lnTo>
                  <a:lnTo>
                    <a:pt x="1698" y="15"/>
                  </a:lnTo>
                  <a:lnTo>
                    <a:pt x="1711" y="25"/>
                  </a:lnTo>
                  <a:lnTo>
                    <a:pt x="1726" y="39"/>
                  </a:lnTo>
                  <a:lnTo>
                    <a:pt x="1743" y="55"/>
                  </a:lnTo>
                  <a:lnTo>
                    <a:pt x="1762" y="73"/>
                  </a:lnTo>
                  <a:lnTo>
                    <a:pt x="1782" y="94"/>
                  </a:lnTo>
                  <a:lnTo>
                    <a:pt x="1804" y="116"/>
                  </a:lnTo>
                  <a:lnTo>
                    <a:pt x="1826" y="141"/>
                  </a:lnTo>
                  <a:lnTo>
                    <a:pt x="1847" y="166"/>
                  </a:lnTo>
                  <a:lnTo>
                    <a:pt x="1870" y="193"/>
                  </a:lnTo>
                  <a:lnTo>
                    <a:pt x="1890" y="221"/>
                  </a:lnTo>
                  <a:lnTo>
                    <a:pt x="1910" y="250"/>
                  </a:lnTo>
                  <a:lnTo>
                    <a:pt x="1929" y="279"/>
                  </a:lnTo>
                  <a:lnTo>
                    <a:pt x="1945" y="309"/>
                  </a:lnTo>
                  <a:lnTo>
                    <a:pt x="1958" y="340"/>
                  </a:lnTo>
                  <a:lnTo>
                    <a:pt x="1968" y="370"/>
                  </a:lnTo>
                  <a:lnTo>
                    <a:pt x="1976" y="401"/>
                  </a:lnTo>
                  <a:lnTo>
                    <a:pt x="1983" y="446"/>
                  </a:lnTo>
                  <a:lnTo>
                    <a:pt x="1985" y="488"/>
                  </a:lnTo>
                  <a:lnTo>
                    <a:pt x="1985" y="526"/>
                  </a:lnTo>
                  <a:lnTo>
                    <a:pt x="1980" y="561"/>
                  </a:lnTo>
                  <a:lnTo>
                    <a:pt x="1972" y="593"/>
                  </a:lnTo>
                  <a:lnTo>
                    <a:pt x="1962" y="621"/>
                  </a:lnTo>
                  <a:lnTo>
                    <a:pt x="1948" y="646"/>
                  </a:lnTo>
                  <a:lnTo>
                    <a:pt x="1932" y="669"/>
                  </a:lnTo>
                  <a:lnTo>
                    <a:pt x="1914" y="687"/>
                  </a:lnTo>
                  <a:lnTo>
                    <a:pt x="1892" y="703"/>
                  </a:lnTo>
                  <a:lnTo>
                    <a:pt x="1870" y="716"/>
                  </a:lnTo>
                  <a:lnTo>
                    <a:pt x="1844" y="726"/>
                  </a:lnTo>
                  <a:lnTo>
                    <a:pt x="1838" y="775"/>
                  </a:lnTo>
                  <a:lnTo>
                    <a:pt x="1828" y="825"/>
                  </a:lnTo>
                  <a:lnTo>
                    <a:pt x="1815" y="878"/>
                  </a:lnTo>
                  <a:lnTo>
                    <a:pt x="1804" y="928"/>
                  </a:lnTo>
                  <a:lnTo>
                    <a:pt x="1830" y="899"/>
                  </a:lnTo>
                  <a:lnTo>
                    <a:pt x="1862" y="871"/>
                  </a:lnTo>
                  <a:lnTo>
                    <a:pt x="1901" y="844"/>
                  </a:lnTo>
                  <a:lnTo>
                    <a:pt x="1931" y="826"/>
                  </a:lnTo>
                  <a:lnTo>
                    <a:pt x="1964" y="812"/>
                  </a:lnTo>
                  <a:lnTo>
                    <a:pt x="1999" y="799"/>
                  </a:lnTo>
                  <a:lnTo>
                    <a:pt x="2037" y="790"/>
                  </a:lnTo>
                  <a:lnTo>
                    <a:pt x="2075" y="782"/>
                  </a:lnTo>
                  <a:lnTo>
                    <a:pt x="2114" y="776"/>
                  </a:lnTo>
                  <a:lnTo>
                    <a:pt x="2152" y="773"/>
                  </a:lnTo>
                  <a:lnTo>
                    <a:pt x="2189" y="769"/>
                  </a:lnTo>
                  <a:lnTo>
                    <a:pt x="2226" y="768"/>
                  </a:lnTo>
                  <a:lnTo>
                    <a:pt x="2260" y="768"/>
                  </a:lnTo>
                  <a:lnTo>
                    <a:pt x="2292" y="768"/>
                  </a:lnTo>
                  <a:lnTo>
                    <a:pt x="2320" y="769"/>
                  </a:lnTo>
                  <a:lnTo>
                    <a:pt x="2345" y="770"/>
                  </a:lnTo>
                  <a:lnTo>
                    <a:pt x="2365" y="773"/>
                  </a:lnTo>
                  <a:lnTo>
                    <a:pt x="2381" y="774"/>
                  </a:lnTo>
                  <a:lnTo>
                    <a:pt x="2390" y="775"/>
                  </a:lnTo>
                  <a:lnTo>
                    <a:pt x="2394" y="775"/>
                  </a:lnTo>
                  <a:lnTo>
                    <a:pt x="2393" y="778"/>
                  </a:lnTo>
                  <a:lnTo>
                    <a:pt x="2389" y="788"/>
                  </a:lnTo>
                  <a:lnTo>
                    <a:pt x="2385" y="802"/>
                  </a:lnTo>
                  <a:lnTo>
                    <a:pt x="2379" y="822"/>
                  </a:lnTo>
                  <a:lnTo>
                    <a:pt x="2370" y="844"/>
                  </a:lnTo>
                  <a:lnTo>
                    <a:pt x="2361" y="871"/>
                  </a:lnTo>
                  <a:lnTo>
                    <a:pt x="2349" y="901"/>
                  </a:lnTo>
                  <a:lnTo>
                    <a:pt x="2335" y="932"/>
                  </a:lnTo>
                  <a:lnTo>
                    <a:pt x="2320" y="965"/>
                  </a:lnTo>
                  <a:lnTo>
                    <a:pt x="2303" y="1000"/>
                  </a:lnTo>
                  <a:lnTo>
                    <a:pt x="2285" y="1034"/>
                  </a:lnTo>
                  <a:lnTo>
                    <a:pt x="2264" y="1067"/>
                  </a:lnTo>
                  <a:lnTo>
                    <a:pt x="2243" y="1099"/>
                  </a:lnTo>
                  <a:lnTo>
                    <a:pt x="2219" y="1130"/>
                  </a:lnTo>
                  <a:lnTo>
                    <a:pt x="2195" y="1158"/>
                  </a:lnTo>
                  <a:lnTo>
                    <a:pt x="2168" y="1183"/>
                  </a:lnTo>
                  <a:lnTo>
                    <a:pt x="2140" y="1204"/>
                  </a:lnTo>
                  <a:lnTo>
                    <a:pt x="2099" y="1230"/>
                  </a:lnTo>
                  <a:lnTo>
                    <a:pt x="2059" y="1250"/>
                  </a:lnTo>
                  <a:lnTo>
                    <a:pt x="2021" y="1264"/>
                  </a:lnTo>
                  <a:lnTo>
                    <a:pt x="1984" y="1274"/>
                  </a:lnTo>
                  <a:lnTo>
                    <a:pt x="1950" y="1277"/>
                  </a:lnTo>
                  <a:lnTo>
                    <a:pt x="1918" y="1277"/>
                  </a:lnTo>
                  <a:lnTo>
                    <a:pt x="1889" y="1272"/>
                  </a:lnTo>
                  <a:lnTo>
                    <a:pt x="1861" y="1263"/>
                  </a:lnTo>
                  <a:lnTo>
                    <a:pt x="1836" y="1249"/>
                  </a:lnTo>
                  <a:lnTo>
                    <a:pt x="1813" y="1232"/>
                  </a:lnTo>
                  <a:lnTo>
                    <a:pt x="1793" y="1213"/>
                  </a:lnTo>
                  <a:lnTo>
                    <a:pt x="1775" y="1189"/>
                  </a:lnTo>
                  <a:lnTo>
                    <a:pt x="1769" y="1181"/>
                  </a:lnTo>
                  <a:lnTo>
                    <a:pt x="1765" y="1172"/>
                  </a:lnTo>
                  <a:lnTo>
                    <a:pt x="1764" y="1182"/>
                  </a:lnTo>
                  <a:lnTo>
                    <a:pt x="1763" y="1198"/>
                  </a:lnTo>
                  <a:lnTo>
                    <a:pt x="1763" y="1220"/>
                  </a:lnTo>
                  <a:lnTo>
                    <a:pt x="1762" y="1249"/>
                  </a:lnTo>
                  <a:lnTo>
                    <a:pt x="1762" y="1281"/>
                  </a:lnTo>
                  <a:lnTo>
                    <a:pt x="1761" y="1318"/>
                  </a:lnTo>
                  <a:lnTo>
                    <a:pt x="1760" y="1357"/>
                  </a:lnTo>
                  <a:lnTo>
                    <a:pt x="1760" y="1397"/>
                  </a:lnTo>
                  <a:lnTo>
                    <a:pt x="1759" y="1439"/>
                  </a:lnTo>
                  <a:lnTo>
                    <a:pt x="1775" y="1432"/>
                  </a:lnTo>
                  <a:lnTo>
                    <a:pt x="1792" y="1428"/>
                  </a:lnTo>
                  <a:lnTo>
                    <a:pt x="1811" y="1426"/>
                  </a:lnTo>
                  <a:lnTo>
                    <a:pt x="1833" y="1427"/>
                  </a:lnTo>
                  <a:lnTo>
                    <a:pt x="1868" y="1433"/>
                  </a:lnTo>
                  <a:lnTo>
                    <a:pt x="1901" y="1441"/>
                  </a:lnTo>
                  <a:lnTo>
                    <a:pt x="1932" y="1451"/>
                  </a:lnTo>
                  <a:lnTo>
                    <a:pt x="1963" y="1464"/>
                  </a:lnTo>
                  <a:lnTo>
                    <a:pt x="1993" y="1478"/>
                  </a:lnTo>
                  <a:lnTo>
                    <a:pt x="2024" y="1494"/>
                  </a:lnTo>
                  <a:lnTo>
                    <a:pt x="2055" y="1513"/>
                  </a:lnTo>
                  <a:lnTo>
                    <a:pt x="2088" y="1532"/>
                  </a:lnTo>
                  <a:lnTo>
                    <a:pt x="2122" y="1553"/>
                  </a:lnTo>
                  <a:lnTo>
                    <a:pt x="2160" y="1576"/>
                  </a:lnTo>
                  <a:lnTo>
                    <a:pt x="2199" y="1599"/>
                  </a:lnTo>
                  <a:lnTo>
                    <a:pt x="2242" y="1625"/>
                  </a:lnTo>
                  <a:lnTo>
                    <a:pt x="2289" y="1652"/>
                  </a:lnTo>
                  <a:lnTo>
                    <a:pt x="2339" y="1678"/>
                  </a:lnTo>
                  <a:lnTo>
                    <a:pt x="2396" y="1707"/>
                  </a:lnTo>
                  <a:lnTo>
                    <a:pt x="2458" y="1737"/>
                  </a:lnTo>
                  <a:lnTo>
                    <a:pt x="2525" y="1768"/>
                  </a:lnTo>
                  <a:lnTo>
                    <a:pt x="2599" y="1799"/>
                  </a:lnTo>
                  <a:lnTo>
                    <a:pt x="2695" y="1840"/>
                  </a:lnTo>
                  <a:lnTo>
                    <a:pt x="2784" y="1882"/>
                  </a:lnTo>
                  <a:lnTo>
                    <a:pt x="2865" y="1924"/>
                  </a:lnTo>
                  <a:lnTo>
                    <a:pt x="2940" y="1965"/>
                  </a:lnTo>
                  <a:lnTo>
                    <a:pt x="3009" y="2006"/>
                  </a:lnTo>
                  <a:lnTo>
                    <a:pt x="3073" y="2047"/>
                  </a:lnTo>
                  <a:lnTo>
                    <a:pt x="3131" y="2087"/>
                  </a:lnTo>
                  <a:lnTo>
                    <a:pt x="3185" y="2126"/>
                  </a:lnTo>
                  <a:lnTo>
                    <a:pt x="3233" y="2164"/>
                  </a:lnTo>
                  <a:lnTo>
                    <a:pt x="3279" y="2199"/>
                  </a:lnTo>
                  <a:lnTo>
                    <a:pt x="3320" y="2233"/>
                  </a:lnTo>
                  <a:lnTo>
                    <a:pt x="3358" y="2265"/>
                  </a:lnTo>
                  <a:lnTo>
                    <a:pt x="3394" y="2294"/>
                  </a:lnTo>
                  <a:lnTo>
                    <a:pt x="3428" y="2322"/>
                  </a:lnTo>
                  <a:lnTo>
                    <a:pt x="3459" y="2346"/>
                  </a:lnTo>
                  <a:lnTo>
                    <a:pt x="3490" y="2367"/>
                  </a:lnTo>
                  <a:lnTo>
                    <a:pt x="3518" y="2385"/>
                  </a:lnTo>
                  <a:lnTo>
                    <a:pt x="3518" y="3068"/>
                  </a:lnTo>
                  <a:lnTo>
                    <a:pt x="3478" y="3051"/>
                  </a:lnTo>
                  <a:lnTo>
                    <a:pt x="3433" y="3033"/>
                  </a:lnTo>
                  <a:lnTo>
                    <a:pt x="3385" y="3014"/>
                  </a:lnTo>
                  <a:lnTo>
                    <a:pt x="3334" y="2995"/>
                  </a:lnTo>
                  <a:lnTo>
                    <a:pt x="3282" y="2976"/>
                  </a:lnTo>
                  <a:lnTo>
                    <a:pt x="3229" y="2958"/>
                  </a:lnTo>
                  <a:lnTo>
                    <a:pt x="3174" y="2941"/>
                  </a:lnTo>
                  <a:lnTo>
                    <a:pt x="3120" y="2924"/>
                  </a:lnTo>
                  <a:lnTo>
                    <a:pt x="3066" y="2908"/>
                  </a:lnTo>
                  <a:lnTo>
                    <a:pt x="3014" y="2894"/>
                  </a:lnTo>
                  <a:lnTo>
                    <a:pt x="2962" y="2881"/>
                  </a:lnTo>
                  <a:lnTo>
                    <a:pt x="2915" y="2870"/>
                  </a:lnTo>
                  <a:lnTo>
                    <a:pt x="2871" y="2862"/>
                  </a:lnTo>
                  <a:lnTo>
                    <a:pt x="2830" y="2856"/>
                  </a:lnTo>
                  <a:lnTo>
                    <a:pt x="2794" y="2852"/>
                  </a:lnTo>
                  <a:lnTo>
                    <a:pt x="2769" y="2852"/>
                  </a:lnTo>
                  <a:lnTo>
                    <a:pt x="2739" y="2853"/>
                  </a:lnTo>
                  <a:lnTo>
                    <a:pt x="2703" y="2854"/>
                  </a:lnTo>
                  <a:lnTo>
                    <a:pt x="2662" y="2857"/>
                  </a:lnTo>
                  <a:lnTo>
                    <a:pt x="2617" y="2862"/>
                  </a:lnTo>
                  <a:lnTo>
                    <a:pt x="2568" y="2866"/>
                  </a:lnTo>
                  <a:lnTo>
                    <a:pt x="2516" y="2870"/>
                  </a:lnTo>
                  <a:lnTo>
                    <a:pt x="2460" y="2876"/>
                  </a:lnTo>
                  <a:lnTo>
                    <a:pt x="2403" y="2882"/>
                  </a:lnTo>
                  <a:lnTo>
                    <a:pt x="2343" y="2887"/>
                  </a:lnTo>
                  <a:lnTo>
                    <a:pt x="2283" y="2894"/>
                  </a:lnTo>
                  <a:lnTo>
                    <a:pt x="2222" y="2900"/>
                  </a:lnTo>
                  <a:lnTo>
                    <a:pt x="2160" y="2906"/>
                  </a:lnTo>
                  <a:lnTo>
                    <a:pt x="2099" y="2911"/>
                  </a:lnTo>
                  <a:lnTo>
                    <a:pt x="2038" y="2915"/>
                  </a:lnTo>
                  <a:lnTo>
                    <a:pt x="1979" y="2919"/>
                  </a:lnTo>
                  <a:lnTo>
                    <a:pt x="1921" y="2923"/>
                  </a:lnTo>
                  <a:lnTo>
                    <a:pt x="1866" y="2926"/>
                  </a:lnTo>
                  <a:lnTo>
                    <a:pt x="1814" y="2927"/>
                  </a:lnTo>
                  <a:lnTo>
                    <a:pt x="1765" y="2927"/>
                  </a:lnTo>
                  <a:lnTo>
                    <a:pt x="1720" y="2926"/>
                  </a:lnTo>
                  <a:lnTo>
                    <a:pt x="1681" y="2924"/>
                  </a:lnTo>
                  <a:lnTo>
                    <a:pt x="1645" y="2919"/>
                  </a:lnTo>
                  <a:lnTo>
                    <a:pt x="1615" y="2914"/>
                  </a:lnTo>
                  <a:lnTo>
                    <a:pt x="1596" y="2908"/>
                  </a:lnTo>
                  <a:lnTo>
                    <a:pt x="1574" y="2898"/>
                  </a:lnTo>
                  <a:lnTo>
                    <a:pt x="1547" y="2885"/>
                  </a:lnTo>
                  <a:lnTo>
                    <a:pt x="1516" y="2868"/>
                  </a:lnTo>
                  <a:lnTo>
                    <a:pt x="1483" y="2849"/>
                  </a:lnTo>
                  <a:lnTo>
                    <a:pt x="1445" y="2826"/>
                  </a:lnTo>
                  <a:lnTo>
                    <a:pt x="1405" y="2802"/>
                  </a:lnTo>
                  <a:lnTo>
                    <a:pt x="1362" y="2774"/>
                  </a:lnTo>
                  <a:lnTo>
                    <a:pt x="1316" y="2744"/>
                  </a:lnTo>
                  <a:lnTo>
                    <a:pt x="1269" y="2713"/>
                  </a:lnTo>
                  <a:lnTo>
                    <a:pt x="1220" y="2679"/>
                  </a:lnTo>
                  <a:lnTo>
                    <a:pt x="1169" y="2644"/>
                  </a:lnTo>
                  <a:lnTo>
                    <a:pt x="1116" y="2608"/>
                  </a:lnTo>
                  <a:lnTo>
                    <a:pt x="1063" y="2570"/>
                  </a:lnTo>
                  <a:lnTo>
                    <a:pt x="1008" y="2532"/>
                  </a:lnTo>
                  <a:lnTo>
                    <a:pt x="953" y="2493"/>
                  </a:lnTo>
                  <a:lnTo>
                    <a:pt x="897" y="2454"/>
                  </a:lnTo>
                  <a:lnTo>
                    <a:pt x="842" y="2414"/>
                  </a:lnTo>
                  <a:lnTo>
                    <a:pt x="787" y="2374"/>
                  </a:lnTo>
                  <a:lnTo>
                    <a:pt x="732" y="2335"/>
                  </a:lnTo>
                  <a:lnTo>
                    <a:pt x="678" y="2295"/>
                  </a:lnTo>
                  <a:lnTo>
                    <a:pt x="624" y="2258"/>
                  </a:lnTo>
                  <a:lnTo>
                    <a:pt x="573" y="2219"/>
                  </a:lnTo>
                  <a:lnTo>
                    <a:pt x="523" y="2183"/>
                  </a:lnTo>
                  <a:lnTo>
                    <a:pt x="475" y="2149"/>
                  </a:lnTo>
                  <a:lnTo>
                    <a:pt x="428" y="2114"/>
                  </a:lnTo>
                  <a:lnTo>
                    <a:pt x="384" y="2082"/>
                  </a:lnTo>
                  <a:lnTo>
                    <a:pt x="342" y="2052"/>
                  </a:lnTo>
                  <a:lnTo>
                    <a:pt x="304" y="2024"/>
                  </a:lnTo>
                  <a:lnTo>
                    <a:pt x="268" y="1999"/>
                  </a:lnTo>
                  <a:lnTo>
                    <a:pt x="236" y="1976"/>
                  </a:lnTo>
                  <a:lnTo>
                    <a:pt x="207" y="1956"/>
                  </a:lnTo>
                  <a:lnTo>
                    <a:pt x="164" y="1925"/>
                  </a:lnTo>
                  <a:lnTo>
                    <a:pt x="126" y="1895"/>
                  </a:lnTo>
                  <a:lnTo>
                    <a:pt x="93" y="1867"/>
                  </a:lnTo>
                  <a:lnTo>
                    <a:pt x="66" y="1840"/>
                  </a:lnTo>
                  <a:lnTo>
                    <a:pt x="44" y="1817"/>
                  </a:lnTo>
                  <a:lnTo>
                    <a:pt x="27" y="1793"/>
                  </a:lnTo>
                  <a:lnTo>
                    <a:pt x="14" y="1773"/>
                  </a:lnTo>
                  <a:lnTo>
                    <a:pt x="5" y="1752"/>
                  </a:lnTo>
                  <a:lnTo>
                    <a:pt x="1" y="1735"/>
                  </a:lnTo>
                  <a:lnTo>
                    <a:pt x="0" y="1719"/>
                  </a:lnTo>
                  <a:lnTo>
                    <a:pt x="3" y="1704"/>
                  </a:lnTo>
                  <a:lnTo>
                    <a:pt x="9" y="1691"/>
                  </a:lnTo>
                  <a:lnTo>
                    <a:pt x="17" y="1680"/>
                  </a:lnTo>
                  <a:lnTo>
                    <a:pt x="29" y="1669"/>
                  </a:lnTo>
                  <a:lnTo>
                    <a:pt x="43" y="1660"/>
                  </a:lnTo>
                  <a:lnTo>
                    <a:pt x="59" y="1653"/>
                  </a:lnTo>
                  <a:lnTo>
                    <a:pt x="77" y="1646"/>
                  </a:lnTo>
                  <a:lnTo>
                    <a:pt x="96" y="1641"/>
                  </a:lnTo>
                  <a:lnTo>
                    <a:pt x="118" y="1638"/>
                  </a:lnTo>
                  <a:lnTo>
                    <a:pt x="140" y="1636"/>
                  </a:lnTo>
                  <a:lnTo>
                    <a:pt x="163" y="1635"/>
                  </a:lnTo>
                  <a:lnTo>
                    <a:pt x="186" y="1635"/>
                  </a:lnTo>
                  <a:lnTo>
                    <a:pt x="211" y="1636"/>
                  </a:lnTo>
                  <a:lnTo>
                    <a:pt x="234" y="1638"/>
                  </a:lnTo>
                  <a:lnTo>
                    <a:pt x="258" y="1641"/>
                  </a:lnTo>
                  <a:lnTo>
                    <a:pt x="281" y="1645"/>
                  </a:lnTo>
                  <a:lnTo>
                    <a:pt x="304" y="1650"/>
                  </a:lnTo>
                  <a:lnTo>
                    <a:pt x="325" y="1656"/>
                  </a:lnTo>
                  <a:lnTo>
                    <a:pt x="345" y="1663"/>
                  </a:lnTo>
                  <a:lnTo>
                    <a:pt x="370" y="1673"/>
                  </a:lnTo>
                  <a:lnTo>
                    <a:pt x="397" y="1685"/>
                  </a:lnTo>
                  <a:lnTo>
                    <a:pt x="428" y="1699"/>
                  </a:lnTo>
                  <a:lnTo>
                    <a:pt x="461" y="1714"/>
                  </a:lnTo>
                  <a:lnTo>
                    <a:pt x="496" y="1731"/>
                  </a:lnTo>
                  <a:lnTo>
                    <a:pt x="533" y="1750"/>
                  </a:lnTo>
                  <a:lnTo>
                    <a:pt x="572" y="1769"/>
                  </a:lnTo>
                  <a:lnTo>
                    <a:pt x="613" y="1790"/>
                  </a:lnTo>
                  <a:lnTo>
                    <a:pt x="654" y="1811"/>
                  </a:lnTo>
                  <a:lnTo>
                    <a:pt x="696" y="1834"/>
                  </a:lnTo>
                  <a:lnTo>
                    <a:pt x="738" y="1855"/>
                  </a:lnTo>
                  <a:lnTo>
                    <a:pt x="779" y="1878"/>
                  </a:lnTo>
                  <a:lnTo>
                    <a:pt x="821" y="1900"/>
                  </a:lnTo>
                  <a:lnTo>
                    <a:pt x="862" y="1922"/>
                  </a:lnTo>
                  <a:lnTo>
                    <a:pt x="901" y="1943"/>
                  </a:lnTo>
                  <a:lnTo>
                    <a:pt x="939" y="1963"/>
                  </a:lnTo>
                  <a:lnTo>
                    <a:pt x="975" y="1984"/>
                  </a:lnTo>
                  <a:lnTo>
                    <a:pt x="1008" y="2002"/>
                  </a:lnTo>
                  <a:lnTo>
                    <a:pt x="1039" y="2019"/>
                  </a:lnTo>
                  <a:lnTo>
                    <a:pt x="1068" y="2034"/>
                  </a:lnTo>
                  <a:lnTo>
                    <a:pt x="1093" y="2048"/>
                  </a:lnTo>
                  <a:lnTo>
                    <a:pt x="1113" y="2060"/>
                  </a:lnTo>
                  <a:lnTo>
                    <a:pt x="1130" y="2068"/>
                  </a:lnTo>
                  <a:lnTo>
                    <a:pt x="1143" y="2076"/>
                  </a:lnTo>
                  <a:lnTo>
                    <a:pt x="1150" y="2080"/>
                  </a:lnTo>
                  <a:lnTo>
                    <a:pt x="1154" y="2081"/>
                  </a:lnTo>
                  <a:lnTo>
                    <a:pt x="1154" y="2050"/>
                  </a:lnTo>
                  <a:lnTo>
                    <a:pt x="1156" y="2015"/>
                  </a:lnTo>
                  <a:lnTo>
                    <a:pt x="1161" y="1977"/>
                  </a:lnTo>
                  <a:lnTo>
                    <a:pt x="1170" y="1938"/>
                  </a:lnTo>
                  <a:lnTo>
                    <a:pt x="1182" y="1895"/>
                  </a:lnTo>
                  <a:lnTo>
                    <a:pt x="1201" y="1851"/>
                  </a:lnTo>
                  <a:lnTo>
                    <a:pt x="1224" y="1806"/>
                  </a:lnTo>
                  <a:lnTo>
                    <a:pt x="1226" y="1804"/>
                  </a:lnTo>
                  <a:lnTo>
                    <a:pt x="1231" y="1797"/>
                  </a:lnTo>
                  <a:lnTo>
                    <a:pt x="1238" y="1787"/>
                  </a:lnTo>
                  <a:lnTo>
                    <a:pt x="1249" y="1774"/>
                  </a:lnTo>
                  <a:lnTo>
                    <a:pt x="1260" y="1757"/>
                  </a:lnTo>
                  <a:lnTo>
                    <a:pt x="1275" y="1737"/>
                  </a:lnTo>
                  <a:lnTo>
                    <a:pt x="1293" y="1716"/>
                  </a:lnTo>
                  <a:lnTo>
                    <a:pt x="1311" y="1693"/>
                  </a:lnTo>
                  <a:lnTo>
                    <a:pt x="1330" y="1669"/>
                  </a:lnTo>
                  <a:lnTo>
                    <a:pt x="1350" y="1643"/>
                  </a:lnTo>
                  <a:lnTo>
                    <a:pt x="1373" y="1617"/>
                  </a:lnTo>
                  <a:lnTo>
                    <a:pt x="1395" y="1592"/>
                  </a:lnTo>
                  <a:lnTo>
                    <a:pt x="1419" y="1567"/>
                  </a:lnTo>
                  <a:lnTo>
                    <a:pt x="1441" y="1542"/>
                  </a:lnTo>
                  <a:lnTo>
                    <a:pt x="1465" y="1519"/>
                  </a:lnTo>
                  <a:lnTo>
                    <a:pt x="1488" y="1498"/>
                  </a:lnTo>
                  <a:lnTo>
                    <a:pt x="1511" y="1478"/>
                  </a:lnTo>
                  <a:lnTo>
                    <a:pt x="1532" y="1461"/>
                  </a:lnTo>
                  <a:lnTo>
                    <a:pt x="1553" y="1447"/>
                  </a:lnTo>
                  <a:lnTo>
                    <a:pt x="1574" y="1436"/>
                  </a:lnTo>
                  <a:lnTo>
                    <a:pt x="1592" y="1429"/>
                  </a:lnTo>
                  <a:lnTo>
                    <a:pt x="1609" y="1426"/>
                  </a:lnTo>
                  <a:lnTo>
                    <a:pt x="1611" y="1426"/>
                  </a:lnTo>
                  <a:lnTo>
                    <a:pt x="1618" y="1426"/>
                  </a:lnTo>
                  <a:lnTo>
                    <a:pt x="1627" y="1427"/>
                  </a:lnTo>
                  <a:lnTo>
                    <a:pt x="1639" y="1430"/>
                  </a:lnTo>
                  <a:lnTo>
                    <a:pt x="1651" y="1434"/>
                  </a:lnTo>
                  <a:lnTo>
                    <a:pt x="1664" y="1443"/>
                  </a:lnTo>
                  <a:lnTo>
                    <a:pt x="1675" y="1455"/>
                  </a:lnTo>
                  <a:lnTo>
                    <a:pt x="1675" y="1417"/>
                  </a:lnTo>
                  <a:lnTo>
                    <a:pt x="1676" y="1380"/>
                  </a:lnTo>
                  <a:lnTo>
                    <a:pt x="1677" y="1342"/>
                  </a:lnTo>
                  <a:lnTo>
                    <a:pt x="1677" y="1307"/>
                  </a:lnTo>
                  <a:lnTo>
                    <a:pt x="1678" y="1274"/>
                  </a:lnTo>
                  <a:lnTo>
                    <a:pt x="1680" y="1244"/>
                  </a:lnTo>
                  <a:lnTo>
                    <a:pt x="1680" y="1218"/>
                  </a:lnTo>
                  <a:lnTo>
                    <a:pt x="1681" y="1198"/>
                  </a:lnTo>
                  <a:lnTo>
                    <a:pt x="1681" y="1183"/>
                  </a:lnTo>
                  <a:lnTo>
                    <a:pt x="1681" y="1174"/>
                  </a:lnTo>
                  <a:lnTo>
                    <a:pt x="1680" y="1176"/>
                  </a:lnTo>
                  <a:lnTo>
                    <a:pt x="1654" y="1196"/>
                  </a:lnTo>
                  <a:lnTo>
                    <a:pt x="1626" y="1211"/>
                  </a:lnTo>
                  <a:lnTo>
                    <a:pt x="1597" y="1221"/>
                  </a:lnTo>
                  <a:lnTo>
                    <a:pt x="1566" y="1227"/>
                  </a:lnTo>
                  <a:lnTo>
                    <a:pt x="1534" y="1227"/>
                  </a:lnTo>
                  <a:lnTo>
                    <a:pt x="1501" y="1220"/>
                  </a:lnTo>
                  <a:lnTo>
                    <a:pt x="1466" y="1208"/>
                  </a:lnTo>
                  <a:lnTo>
                    <a:pt x="1430" y="1191"/>
                  </a:lnTo>
                  <a:lnTo>
                    <a:pt x="1395" y="1167"/>
                  </a:lnTo>
                  <a:lnTo>
                    <a:pt x="1359" y="1135"/>
                  </a:lnTo>
                  <a:lnTo>
                    <a:pt x="1321" y="1096"/>
                  </a:lnTo>
                  <a:lnTo>
                    <a:pt x="1299" y="1067"/>
                  </a:lnTo>
                  <a:lnTo>
                    <a:pt x="1279" y="1034"/>
                  </a:lnTo>
                  <a:lnTo>
                    <a:pt x="1262" y="997"/>
                  </a:lnTo>
                  <a:lnTo>
                    <a:pt x="1247" y="959"/>
                  </a:lnTo>
                  <a:lnTo>
                    <a:pt x="1234" y="919"/>
                  </a:lnTo>
                  <a:lnTo>
                    <a:pt x="1223" y="880"/>
                  </a:lnTo>
                  <a:lnTo>
                    <a:pt x="1214" y="840"/>
                  </a:lnTo>
                  <a:lnTo>
                    <a:pt x="1207" y="802"/>
                  </a:lnTo>
                  <a:lnTo>
                    <a:pt x="1201" y="764"/>
                  </a:lnTo>
                  <a:lnTo>
                    <a:pt x="1196" y="729"/>
                  </a:lnTo>
                  <a:lnTo>
                    <a:pt x="1193" y="698"/>
                  </a:lnTo>
                  <a:lnTo>
                    <a:pt x="1191" y="671"/>
                  </a:lnTo>
                  <a:lnTo>
                    <a:pt x="1190" y="647"/>
                  </a:lnTo>
                  <a:lnTo>
                    <a:pt x="1189" y="630"/>
                  </a:lnTo>
                  <a:lnTo>
                    <a:pt x="1189" y="620"/>
                  </a:lnTo>
                  <a:lnTo>
                    <a:pt x="1189" y="616"/>
                  </a:lnTo>
                  <a:lnTo>
                    <a:pt x="1192" y="616"/>
                  </a:lnTo>
                  <a:lnTo>
                    <a:pt x="1202" y="618"/>
                  </a:lnTo>
                  <a:lnTo>
                    <a:pt x="1217" y="621"/>
                  </a:lnTo>
                  <a:lnTo>
                    <a:pt x="1236" y="625"/>
                  </a:lnTo>
                  <a:lnTo>
                    <a:pt x="1260" y="630"/>
                  </a:lnTo>
                  <a:lnTo>
                    <a:pt x="1288" y="637"/>
                  </a:lnTo>
                  <a:lnTo>
                    <a:pt x="1319" y="644"/>
                  </a:lnTo>
                  <a:lnTo>
                    <a:pt x="1352" y="653"/>
                  </a:lnTo>
                  <a:lnTo>
                    <a:pt x="1387" y="663"/>
                  </a:lnTo>
                  <a:lnTo>
                    <a:pt x="1423" y="676"/>
                  </a:lnTo>
                  <a:lnTo>
                    <a:pt x="1458" y="690"/>
                  </a:lnTo>
                  <a:lnTo>
                    <a:pt x="1495" y="705"/>
                  </a:lnTo>
                  <a:lnTo>
                    <a:pt x="1530" y="722"/>
                  </a:lnTo>
                  <a:lnTo>
                    <a:pt x="1563" y="742"/>
                  </a:lnTo>
                  <a:lnTo>
                    <a:pt x="1594" y="763"/>
                  </a:lnTo>
                  <a:lnTo>
                    <a:pt x="1622" y="785"/>
                  </a:lnTo>
                  <a:lnTo>
                    <a:pt x="1646" y="811"/>
                  </a:lnTo>
                  <a:lnTo>
                    <a:pt x="1676" y="848"/>
                  </a:lnTo>
                  <a:lnTo>
                    <a:pt x="1701" y="884"/>
                  </a:lnTo>
                  <a:lnTo>
                    <a:pt x="1720" y="919"/>
                  </a:lnTo>
                  <a:lnTo>
                    <a:pt x="1735" y="857"/>
                  </a:lnTo>
                  <a:lnTo>
                    <a:pt x="1746" y="813"/>
                  </a:lnTo>
                  <a:lnTo>
                    <a:pt x="1754" y="774"/>
                  </a:lnTo>
                  <a:lnTo>
                    <a:pt x="1760" y="735"/>
                  </a:lnTo>
                  <a:lnTo>
                    <a:pt x="1732" y="731"/>
                  </a:lnTo>
                  <a:lnTo>
                    <a:pt x="1705" y="721"/>
                  </a:lnTo>
                  <a:lnTo>
                    <a:pt x="1680" y="708"/>
                  </a:lnTo>
                  <a:lnTo>
                    <a:pt x="1655" y="690"/>
                  </a:lnTo>
                  <a:lnTo>
                    <a:pt x="1633" y="668"/>
                  </a:lnTo>
                  <a:lnTo>
                    <a:pt x="1611" y="641"/>
                  </a:lnTo>
                  <a:lnTo>
                    <a:pt x="1592" y="609"/>
                  </a:lnTo>
                  <a:lnTo>
                    <a:pt x="1576" y="571"/>
                  </a:lnTo>
                  <a:lnTo>
                    <a:pt x="1562" y="529"/>
                  </a:lnTo>
                  <a:lnTo>
                    <a:pt x="1551" y="481"/>
                  </a:lnTo>
                  <a:lnTo>
                    <a:pt x="1547" y="448"/>
                  </a:lnTo>
                  <a:lnTo>
                    <a:pt x="1546" y="414"/>
                  </a:lnTo>
                  <a:lnTo>
                    <a:pt x="1548" y="379"/>
                  </a:lnTo>
                  <a:lnTo>
                    <a:pt x="1553" y="343"/>
                  </a:lnTo>
                  <a:lnTo>
                    <a:pt x="1560" y="307"/>
                  </a:lnTo>
                  <a:lnTo>
                    <a:pt x="1568" y="270"/>
                  </a:lnTo>
                  <a:lnTo>
                    <a:pt x="1579" y="235"/>
                  </a:lnTo>
                  <a:lnTo>
                    <a:pt x="1590" y="201"/>
                  </a:lnTo>
                  <a:lnTo>
                    <a:pt x="1603" y="169"/>
                  </a:lnTo>
                  <a:lnTo>
                    <a:pt x="1614" y="138"/>
                  </a:lnTo>
                  <a:lnTo>
                    <a:pt x="1627" y="109"/>
                  </a:lnTo>
                  <a:lnTo>
                    <a:pt x="1639" y="82"/>
                  </a:lnTo>
                  <a:lnTo>
                    <a:pt x="1650" y="58"/>
                  </a:lnTo>
                  <a:lnTo>
                    <a:pt x="1660" y="38"/>
                  </a:lnTo>
                  <a:lnTo>
                    <a:pt x="1669" y="22"/>
                  </a:lnTo>
                  <a:lnTo>
                    <a:pt x="1675" y="10"/>
                  </a:lnTo>
                  <a:lnTo>
                    <a:pt x="1680" y="3"/>
                  </a:lnTo>
                  <a:lnTo>
                    <a:pt x="168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Group 55"/>
          <p:cNvGrpSpPr/>
          <p:nvPr/>
        </p:nvGrpSpPr>
        <p:grpSpPr>
          <a:xfrm>
            <a:off x="5975259" y="2487427"/>
            <a:ext cx="1295266" cy="1295266"/>
            <a:chOff x="6184582" y="2487427"/>
            <a:chExt cx="1295266" cy="1295266"/>
          </a:xfrm>
        </p:grpSpPr>
        <p:sp>
          <p:nvSpPr>
            <p:cNvPr id="19" name="Oval 195"/>
            <p:cNvSpPr>
              <a:spLocks noChangeArrowheads="1"/>
            </p:cNvSpPr>
            <p:nvPr/>
          </p:nvSpPr>
          <p:spPr bwMode="auto">
            <a:xfrm>
              <a:off x="6184582" y="2487427"/>
              <a:ext cx="1295266" cy="1295266"/>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Oval 196"/>
            <p:cNvSpPr>
              <a:spLocks noChangeArrowheads="1"/>
            </p:cNvSpPr>
            <p:nvPr/>
          </p:nvSpPr>
          <p:spPr bwMode="auto">
            <a:xfrm>
              <a:off x="6327931" y="2629070"/>
              <a:ext cx="1008567" cy="1010273"/>
            </a:xfrm>
            <a:prstGeom prst="ellipse">
              <a:avLst/>
            </a:prstGeom>
            <a:solidFill>
              <a:schemeClr val="accent4"/>
            </a:solidFill>
            <a:ln>
              <a:noFill/>
            </a:ln>
            <a:effectLst>
              <a:outerShdw blurRad="101600" dist="38100" dir="5400000" sx="102000" sy="102000" algn="t" rotWithShape="0">
                <a:schemeClr val="accent4">
                  <a:alpha val="40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6"/>
            <p:cNvSpPr>
              <a:spLocks noEditPoints="1"/>
            </p:cNvSpPr>
            <p:nvPr/>
          </p:nvSpPr>
          <p:spPr bwMode="auto">
            <a:xfrm>
              <a:off x="6582517" y="2907193"/>
              <a:ext cx="487363" cy="454025"/>
            </a:xfrm>
            <a:custGeom>
              <a:avLst/>
              <a:gdLst>
                <a:gd name="T0" fmla="*/ 1300 w 3380"/>
                <a:gd name="T1" fmla="*/ 2456 h 3151"/>
                <a:gd name="T2" fmla="*/ 188 w 3380"/>
                <a:gd name="T3" fmla="*/ 1764 h 3151"/>
                <a:gd name="T4" fmla="*/ 686 w 3380"/>
                <a:gd name="T5" fmla="*/ 2592 h 3151"/>
                <a:gd name="T6" fmla="*/ 1690 w 3380"/>
                <a:gd name="T7" fmla="*/ 2918 h 3151"/>
                <a:gd name="T8" fmla="*/ 1114 w 3380"/>
                <a:gd name="T9" fmla="*/ 2985 h 3151"/>
                <a:gd name="T10" fmla="*/ 165 w 3380"/>
                <a:gd name="T11" fmla="*/ 2152 h 3151"/>
                <a:gd name="T12" fmla="*/ 63 w 3380"/>
                <a:gd name="T13" fmla="*/ 1803 h 3151"/>
                <a:gd name="T14" fmla="*/ 569 w 3380"/>
                <a:gd name="T15" fmla="*/ 1667 h 3151"/>
                <a:gd name="T16" fmla="*/ 621 w 3380"/>
                <a:gd name="T17" fmla="*/ 1193 h 3151"/>
                <a:gd name="T18" fmla="*/ 2387 w 3380"/>
                <a:gd name="T19" fmla="*/ 1389 h 3151"/>
                <a:gd name="T20" fmla="*/ 2271 w 3380"/>
                <a:gd name="T21" fmla="*/ 1965 h 3151"/>
                <a:gd name="T22" fmla="*/ 1902 w 3380"/>
                <a:gd name="T23" fmla="*/ 2055 h 3151"/>
                <a:gd name="T24" fmla="*/ 1664 w 3380"/>
                <a:gd name="T25" fmla="*/ 1685 h 3151"/>
                <a:gd name="T26" fmla="*/ 1605 w 3380"/>
                <a:gd name="T27" fmla="*/ 1896 h 3151"/>
                <a:gd name="T28" fmla="*/ 1871 w 3380"/>
                <a:gd name="T29" fmla="*/ 2521 h 3151"/>
                <a:gd name="T30" fmla="*/ 2087 w 3380"/>
                <a:gd name="T31" fmla="*/ 2964 h 3151"/>
                <a:gd name="T32" fmla="*/ 2954 w 3380"/>
                <a:gd name="T33" fmla="*/ 2854 h 3151"/>
                <a:gd name="T34" fmla="*/ 3228 w 3380"/>
                <a:gd name="T35" fmla="*/ 1849 h 3151"/>
                <a:gd name="T36" fmla="*/ 3072 w 3380"/>
                <a:gd name="T37" fmla="*/ 1727 h 3151"/>
                <a:gd name="T38" fmla="*/ 2843 w 3380"/>
                <a:gd name="T39" fmla="*/ 2116 h 3151"/>
                <a:gd name="T40" fmla="*/ 2953 w 3380"/>
                <a:gd name="T41" fmla="*/ 1512 h 3151"/>
                <a:gd name="T42" fmla="*/ 2789 w 3380"/>
                <a:gd name="T43" fmla="*/ 1202 h 3151"/>
                <a:gd name="T44" fmla="*/ 2687 w 3380"/>
                <a:gd name="T45" fmla="*/ 1888 h 3151"/>
                <a:gd name="T46" fmla="*/ 2501 w 3380"/>
                <a:gd name="T47" fmla="*/ 2004 h 3151"/>
                <a:gd name="T48" fmla="*/ 2602 w 3380"/>
                <a:gd name="T49" fmla="*/ 1206 h 3151"/>
                <a:gd name="T50" fmla="*/ 2734 w 3380"/>
                <a:gd name="T51" fmla="*/ 1019 h 3151"/>
                <a:gd name="T52" fmla="*/ 3082 w 3380"/>
                <a:gd name="T53" fmla="*/ 1394 h 3151"/>
                <a:gd name="T54" fmla="*/ 3336 w 3380"/>
                <a:gd name="T55" fmla="*/ 1649 h 3151"/>
                <a:gd name="T56" fmla="*/ 3237 w 3380"/>
                <a:gd name="T57" fmla="*/ 2494 h 3151"/>
                <a:gd name="T58" fmla="*/ 2891 w 3380"/>
                <a:gd name="T59" fmla="*/ 3151 h 3151"/>
                <a:gd name="T60" fmla="*/ 1911 w 3380"/>
                <a:gd name="T61" fmla="*/ 2838 h 3151"/>
                <a:gd name="T62" fmla="*/ 1610 w 3380"/>
                <a:gd name="T63" fmla="*/ 2329 h 3151"/>
                <a:gd name="T64" fmla="*/ 1436 w 3380"/>
                <a:gd name="T65" fmla="*/ 1818 h 3151"/>
                <a:gd name="T66" fmla="*/ 1738 w 3380"/>
                <a:gd name="T67" fmla="*/ 1549 h 3151"/>
                <a:gd name="T68" fmla="*/ 2042 w 3380"/>
                <a:gd name="T69" fmla="*/ 1994 h 3151"/>
                <a:gd name="T70" fmla="*/ 2219 w 3380"/>
                <a:gd name="T71" fmla="*/ 1561 h 3151"/>
                <a:gd name="T72" fmla="*/ 2373 w 3380"/>
                <a:gd name="T73" fmla="*/ 966 h 3151"/>
                <a:gd name="T74" fmla="*/ 763 w 3380"/>
                <a:gd name="T75" fmla="*/ 934 h 3151"/>
                <a:gd name="T76" fmla="*/ 1293 w 3380"/>
                <a:gd name="T77" fmla="*/ 571 h 3151"/>
                <a:gd name="T78" fmla="*/ 1269 w 3380"/>
                <a:gd name="T79" fmla="*/ 1094 h 3151"/>
                <a:gd name="T80" fmla="*/ 1734 w 3380"/>
                <a:gd name="T81" fmla="*/ 686 h 3151"/>
                <a:gd name="T82" fmla="*/ 2036 w 3380"/>
                <a:gd name="T83" fmla="*/ 482 h 3151"/>
                <a:gd name="T84" fmla="*/ 2298 w 3380"/>
                <a:gd name="T85" fmla="*/ 831 h 3151"/>
                <a:gd name="T86" fmla="*/ 1983 w 3380"/>
                <a:gd name="T87" fmla="*/ 927 h 3151"/>
                <a:gd name="T88" fmla="*/ 1924 w 3380"/>
                <a:gd name="T89" fmla="*/ 1498 h 3151"/>
                <a:gd name="T90" fmla="*/ 1234 w 3380"/>
                <a:gd name="T91" fmla="*/ 1619 h 3151"/>
                <a:gd name="T92" fmla="*/ 1511 w 3380"/>
                <a:gd name="T93" fmla="*/ 2512 h 3151"/>
                <a:gd name="T94" fmla="*/ 1567 w 3380"/>
                <a:gd name="T95" fmla="*/ 2643 h 3151"/>
                <a:gd name="T96" fmla="*/ 1012 w 3380"/>
                <a:gd name="T97" fmla="*/ 2549 h 3151"/>
                <a:gd name="T98" fmla="*/ 410 w 3380"/>
                <a:gd name="T99" fmla="*/ 1537 h 3151"/>
                <a:gd name="T100" fmla="*/ 1007 w 3380"/>
                <a:gd name="T101" fmla="*/ 528 h 3151"/>
                <a:gd name="T102" fmla="*/ 2153 w 3380"/>
                <a:gd name="T103" fmla="*/ 118 h 3151"/>
                <a:gd name="T104" fmla="*/ 2786 w 3380"/>
                <a:gd name="T105" fmla="*/ 159 h 3151"/>
                <a:gd name="T106" fmla="*/ 2769 w 3380"/>
                <a:gd name="T107" fmla="*/ 745 h 3151"/>
                <a:gd name="T108" fmla="*/ 2628 w 3380"/>
                <a:gd name="T109" fmla="*/ 651 h 3151"/>
                <a:gd name="T110" fmla="*/ 1535 w 3380"/>
                <a:gd name="T111" fmla="*/ 150 h 3151"/>
                <a:gd name="T112" fmla="*/ 418 w 3380"/>
                <a:gd name="T113" fmla="*/ 756 h 3151"/>
                <a:gd name="T114" fmla="*/ 110 w 3380"/>
                <a:gd name="T115" fmla="*/ 1398 h 3151"/>
                <a:gd name="T116" fmla="*/ 384 w 3380"/>
                <a:gd name="T117" fmla="*/ 552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80" h="3151">
                  <a:moveTo>
                    <a:pt x="629" y="1903"/>
                  </a:moveTo>
                  <a:lnTo>
                    <a:pt x="659" y="1971"/>
                  </a:lnTo>
                  <a:lnTo>
                    <a:pt x="694" y="2037"/>
                  </a:lnTo>
                  <a:lnTo>
                    <a:pt x="733" y="2100"/>
                  </a:lnTo>
                  <a:lnTo>
                    <a:pt x="777" y="2159"/>
                  </a:lnTo>
                  <a:lnTo>
                    <a:pt x="825" y="2216"/>
                  </a:lnTo>
                  <a:lnTo>
                    <a:pt x="877" y="2268"/>
                  </a:lnTo>
                  <a:lnTo>
                    <a:pt x="932" y="2316"/>
                  </a:lnTo>
                  <a:lnTo>
                    <a:pt x="992" y="2361"/>
                  </a:lnTo>
                  <a:lnTo>
                    <a:pt x="1054" y="2401"/>
                  </a:lnTo>
                  <a:lnTo>
                    <a:pt x="1119" y="2437"/>
                  </a:lnTo>
                  <a:lnTo>
                    <a:pt x="1188" y="2467"/>
                  </a:lnTo>
                  <a:lnTo>
                    <a:pt x="1259" y="2493"/>
                  </a:lnTo>
                  <a:lnTo>
                    <a:pt x="1332" y="2513"/>
                  </a:lnTo>
                  <a:lnTo>
                    <a:pt x="1300" y="2456"/>
                  </a:lnTo>
                  <a:lnTo>
                    <a:pt x="1269" y="2394"/>
                  </a:lnTo>
                  <a:lnTo>
                    <a:pt x="1239" y="2325"/>
                  </a:lnTo>
                  <a:lnTo>
                    <a:pt x="1210" y="2252"/>
                  </a:lnTo>
                  <a:lnTo>
                    <a:pt x="1183" y="2175"/>
                  </a:lnTo>
                  <a:lnTo>
                    <a:pt x="1158" y="2093"/>
                  </a:lnTo>
                  <a:lnTo>
                    <a:pt x="1137" y="2007"/>
                  </a:lnTo>
                  <a:lnTo>
                    <a:pt x="1007" y="1988"/>
                  </a:lnTo>
                  <a:lnTo>
                    <a:pt x="879" y="1965"/>
                  </a:lnTo>
                  <a:lnTo>
                    <a:pt x="754" y="1936"/>
                  </a:lnTo>
                  <a:lnTo>
                    <a:pt x="629" y="1903"/>
                  </a:lnTo>
                  <a:close/>
                  <a:moveTo>
                    <a:pt x="133" y="1745"/>
                  </a:moveTo>
                  <a:lnTo>
                    <a:pt x="147" y="1745"/>
                  </a:lnTo>
                  <a:lnTo>
                    <a:pt x="160" y="1748"/>
                  </a:lnTo>
                  <a:lnTo>
                    <a:pt x="175" y="1755"/>
                  </a:lnTo>
                  <a:lnTo>
                    <a:pt x="188" y="1764"/>
                  </a:lnTo>
                  <a:lnTo>
                    <a:pt x="198" y="1777"/>
                  </a:lnTo>
                  <a:lnTo>
                    <a:pt x="206" y="1792"/>
                  </a:lnTo>
                  <a:lnTo>
                    <a:pt x="208" y="1798"/>
                  </a:lnTo>
                  <a:lnTo>
                    <a:pt x="210" y="1806"/>
                  </a:lnTo>
                  <a:lnTo>
                    <a:pt x="231" y="1892"/>
                  </a:lnTo>
                  <a:lnTo>
                    <a:pt x="257" y="1976"/>
                  </a:lnTo>
                  <a:lnTo>
                    <a:pt x="287" y="2057"/>
                  </a:lnTo>
                  <a:lnTo>
                    <a:pt x="323" y="2135"/>
                  </a:lnTo>
                  <a:lnTo>
                    <a:pt x="362" y="2210"/>
                  </a:lnTo>
                  <a:lnTo>
                    <a:pt x="407" y="2282"/>
                  </a:lnTo>
                  <a:lnTo>
                    <a:pt x="455" y="2352"/>
                  </a:lnTo>
                  <a:lnTo>
                    <a:pt x="507" y="2417"/>
                  </a:lnTo>
                  <a:lnTo>
                    <a:pt x="564" y="2480"/>
                  </a:lnTo>
                  <a:lnTo>
                    <a:pt x="622" y="2538"/>
                  </a:lnTo>
                  <a:lnTo>
                    <a:pt x="686" y="2592"/>
                  </a:lnTo>
                  <a:lnTo>
                    <a:pt x="752" y="2642"/>
                  </a:lnTo>
                  <a:lnTo>
                    <a:pt x="820" y="2689"/>
                  </a:lnTo>
                  <a:lnTo>
                    <a:pt x="892" y="2731"/>
                  </a:lnTo>
                  <a:lnTo>
                    <a:pt x="967" y="2770"/>
                  </a:lnTo>
                  <a:lnTo>
                    <a:pt x="1043" y="2803"/>
                  </a:lnTo>
                  <a:lnTo>
                    <a:pt x="1123" y="2832"/>
                  </a:lnTo>
                  <a:lnTo>
                    <a:pt x="1204" y="2856"/>
                  </a:lnTo>
                  <a:lnTo>
                    <a:pt x="1287" y="2876"/>
                  </a:lnTo>
                  <a:lnTo>
                    <a:pt x="1373" y="2889"/>
                  </a:lnTo>
                  <a:lnTo>
                    <a:pt x="1459" y="2898"/>
                  </a:lnTo>
                  <a:lnTo>
                    <a:pt x="1546" y="2902"/>
                  </a:lnTo>
                  <a:lnTo>
                    <a:pt x="1636" y="2900"/>
                  </a:lnTo>
                  <a:lnTo>
                    <a:pt x="1656" y="2901"/>
                  </a:lnTo>
                  <a:lnTo>
                    <a:pt x="1673" y="2908"/>
                  </a:lnTo>
                  <a:lnTo>
                    <a:pt x="1690" y="2918"/>
                  </a:lnTo>
                  <a:lnTo>
                    <a:pt x="1702" y="2934"/>
                  </a:lnTo>
                  <a:lnTo>
                    <a:pt x="1710" y="2951"/>
                  </a:lnTo>
                  <a:lnTo>
                    <a:pt x="1715" y="2971"/>
                  </a:lnTo>
                  <a:lnTo>
                    <a:pt x="1713" y="2991"/>
                  </a:lnTo>
                  <a:lnTo>
                    <a:pt x="1706" y="3009"/>
                  </a:lnTo>
                  <a:lnTo>
                    <a:pt x="1695" y="3025"/>
                  </a:lnTo>
                  <a:lnTo>
                    <a:pt x="1681" y="3037"/>
                  </a:lnTo>
                  <a:lnTo>
                    <a:pt x="1663" y="3045"/>
                  </a:lnTo>
                  <a:lnTo>
                    <a:pt x="1644" y="3049"/>
                  </a:lnTo>
                  <a:lnTo>
                    <a:pt x="1562" y="3052"/>
                  </a:lnTo>
                  <a:lnTo>
                    <a:pt x="1470" y="3049"/>
                  </a:lnTo>
                  <a:lnTo>
                    <a:pt x="1380" y="3041"/>
                  </a:lnTo>
                  <a:lnTo>
                    <a:pt x="1291" y="3028"/>
                  </a:lnTo>
                  <a:lnTo>
                    <a:pt x="1201" y="3009"/>
                  </a:lnTo>
                  <a:lnTo>
                    <a:pt x="1114" y="2985"/>
                  </a:lnTo>
                  <a:lnTo>
                    <a:pt x="1029" y="2956"/>
                  </a:lnTo>
                  <a:lnTo>
                    <a:pt x="945" y="2923"/>
                  </a:lnTo>
                  <a:lnTo>
                    <a:pt x="862" y="2884"/>
                  </a:lnTo>
                  <a:lnTo>
                    <a:pt x="782" y="2840"/>
                  </a:lnTo>
                  <a:lnTo>
                    <a:pt x="705" y="2792"/>
                  </a:lnTo>
                  <a:lnTo>
                    <a:pt x="631" y="2738"/>
                  </a:lnTo>
                  <a:lnTo>
                    <a:pt x="565" y="2685"/>
                  </a:lnTo>
                  <a:lnTo>
                    <a:pt x="502" y="2628"/>
                  </a:lnTo>
                  <a:lnTo>
                    <a:pt x="444" y="2569"/>
                  </a:lnTo>
                  <a:lnTo>
                    <a:pt x="387" y="2506"/>
                  </a:lnTo>
                  <a:lnTo>
                    <a:pt x="336" y="2440"/>
                  </a:lnTo>
                  <a:lnTo>
                    <a:pt x="287" y="2372"/>
                  </a:lnTo>
                  <a:lnTo>
                    <a:pt x="242" y="2300"/>
                  </a:lnTo>
                  <a:lnTo>
                    <a:pt x="202" y="2228"/>
                  </a:lnTo>
                  <a:lnTo>
                    <a:pt x="165" y="2152"/>
                  </a:lnTo>
                  <a:lnTo>
                    <a:pt x="149" y="2271"/>
                  </a:lnTo>
                  <a:lnTo>
                    <a:pt x="144" y="2290"/>
                  </a:lnTo>
                  <a:lnTo>
                    <a:pt x="133" y="2307"/>
                  </a:lnTo>
                  <a:lnTo>
                    <a:pt x="119" y="2320"/>
                  </a:lnTo>
                  <a:lnTo>
                    <a:pt x="103" y="2330"/>
                  </a:lnTo>
                  <a:lnTo>
                    <a:pt x="84" y="2335"/>
                  </a:lnTo>
                  <a:lnTo>
                    <a:pt x="64" y="2334"/>
                  </a:lnTo>
                  <a:lnTo>
                    <a:pt x="44" y="2329"/>
                  </a:lnTo>
                  <a:lnTo>
                    <a:pt x="28" y="2319"/>
                  </a:lnTo>
                  <a:lnTo>
                    <a:pt x="14" y="2306"/>
                  </a:lnTo>
                  <a:lnTo>
                    <a:pt x="5" y="2289"/>
                  </a:lnTo>
                  <a:lnTo>
                    <a:pt x="0" y="2270"/>
                  </a:lnTo>
                  <a:lnTo>
                    <a:pt x="0" y="2250"/>
                  </a:lnTo>
                  <a:lnTo>
                    <a:pt x="62" y="1810"/>
                  </a:lnTo>
                  <a:lnTo>
                    <a:pt x="63" y="1803"/>
                  </a:lnTo>
                  <a:lnTo>
                    <a:pt x="65" y="1796"/>
                  </a:lnTo>
                  <a:lnTo>
                    <a:pt x="72" y="1781"/>
                  </a:lnTo>
                  <a:lnTo>
                    <a:pt x="81" y="1768"/>
                  </a:lnTo>
                  <a:lnTo>
                    <a:pt x="93" y="1757"/>
                  </a:lnTo>
                  <a:lnTo>
                    <a:pt x="109" y="1750"/>
                  </a:lnTo>
                  <a:lnTo>
                    <a:pt x="121" y="1746"/>
                  </a:lnTo>
                  <a:lnTo>
                    <a:pt x="133" y="1745"/>
                  </a:lnTo>
                  <a:close/>
                  <a:moveTo>
                    <a:pt x="621" y="1193"/>
                  </a:moveTo>
                  <a:lnTo>
                    <a:pt x="600" y="1259"/>
                  </a:lnTo>
                  <a:lnTo>
                    <a:pt x="582" y="1326"/>
                  </a:lnTo>
                  <a:lnTo>
                    <a:pt x="570" y="1395"/>
                  </a:lnTo>
                  <a:lnTo>
                    <a:pt x="563" y="1465"/>
                  </a:lnTo>
                  <a:lnTo>
                    <a:pt x="560" y="1537"/>
                  </a:lnTo>
                  <a:lnTo>
                    <a:pt x="563" y="1603"/>
                  </a:lnTo>
                  <a:lnTo>
                    <a:pt x="569" y="1667"/>
                  </a:lnTo>
                  <a:lnTo>
                    <a:pt x="579" y="1730"/>
                  </a:lnTo>
                  <a:lnTo>
                    <a:pt x="681" y="1762"/>
                  </a:lnTo>
                  <a:lnTo>
                    <a:pt x="784" y="1790"/>
                  </a:lnTo>
                  <a:lnTo>
                    <a:pt x="890" y="1813"/>
                  </a:lnTo>
                  <a:lnTo>
                    <a:pt x="998" y="1834"/>
                  </a:lnTo>
                  <a:lnTo>
                    <a:pt x="1106" y="1851"/>
                  </a:lnTo>
                  <a:lnTo>
                    <a:pt x="1092" y="1749"/>
                  </a:lnTo>
                  <a:lnTo>
                    <a:pt x="1084" y="1645"/>
                  </a:lnTo>
                  <a:lnTo>
                    <a:pt x="1081" y="1537"/>
                  </a:lnTo>
                  <a:lnTo>
                    <a:pt x="1084" y="1419"/>
                  </a:lnTo>
                  <a:lnTo>
                    <a:pt x="1091" y="1303"/>
                  </a:lnTo>
                  <a:lnTo>
                    <a:pt x="971" y="1282"/>
                  </a:lnTo>
                  <a:lnTo>
                    <a:pt x="853" y="1257"/>
                  </a:lnTo>
                  <a:lnTo>
                    <a:pt x="736" y="1227"/>
                  </a:lnTo>
                  <a:lnTo>
                    <a:pt x="621" y="1193"/>
                  </a:lnTo>
                  <a:close/>
                  <a:moveTo>
                    <a:pt x="2560" y="1044"/>
                  </a:moveTo>
                  <a:lnTo>
                    <a:pt x="2537" y="1046"/>
                  </a:lnTo>
                  <a:lnTo>
                    <a:pt x="2514" y="1053"/>
                  </a:lnTo>
                  <a:lnTo>
                    <a:pt x="2492" y="1064"/>
                  </a:lnTo>
                  <a:lnTo>
                    <a:pt x="2470" y="1080"/>
                  </a:lnTo>
                  <a:lnTo>
                    <a:pt x="2449" y="1100"/>
                  </a:lnTo>
                  <a:lnTo>
                    <a:pt x="2434" y="1120"/>
                  </a:lnTo>
                  <a:lnTo>
                    <a:pt x="2422" y="1143"/>
                  </a:lnTo>
                  <a:lnTo>
                    <a:pt x="2413" y="1171"/>
                  </a:lnTo>
                  <a:lnTo>
                    <a:pt x="2404" y="1201"/>
                  </a:lnTo>
                  <a:lnTo>
                    <a:pt x="2399" y="1235"/>
                  </a:lnTo>
                  <a:lnTo>
                    <a:pt x="2394" y="1272"/>
                  </a:lnTo>
                  <a:lnTo>
                    <a:pt x="2391" y="1310"/>
                  </a:lnTo>
                  <a:lnTo>
                    <a:pt x="2388" y="1349"/>
                  </a:lnTo>
                  <a:lnTo>
                    <a:pt x="2387" y="1389"/>
                  </a:lnTo>
                  <a:lnTo>
                    <a:pt x="2385" y="1430"/>
                  </a:lnTo>
                  <a:lnTo>
                    <a:pt x="2382" y="1471"/>
                  </a:lnTo>
                  <a:lnTo>
                    <a:pt x="2378" y="1514"/>
                  </a:lnTo>
                  <a:lnTo>
                    <a:pt x="2372" y="1558"/>
                  </a:lnTo>
                  <a:lnTo>
                    <a:pt x="2363" y="1603"/>
                  </a:lnTo>
                  <a:lnTo>
                    <a:pt x="2354" y="1648"/>
                  </a:lnTo>
                  <a:lnTo>
                    <a:pt x="2345" y="1693"/>
                  </a:lnTo>
                  <a:lnTo>
                    <a:pt x="2335" y="1737"/>
                  </a:lnTo>
                  <a:lnTo>
                    <a:pt x="2324" y="1780"/>
                  </a:lnTo>
                  <a:lnTo>
                    <a:pt x="2313" y="1820"/>
                  </a:lnTo>
                  <a:lnTo>
                    <a:pt x="2303" y="1856"/>
                  </a:lnTo>
                  <a:lnTo>
                    <a:pt x="2294" y="1890"/>
                  </a:lnTo>
                  <a:lnTo>
                    <a:pt x="2284" y="1920"/>
                  </a:lnTo>
                  <a:lnTo>
                    <a:pt x="2277" y="1944"/>
                  </a:lnTo>
                  <a:lnTo>
                    <a:pt x="2271" y="1965"/>
                  </a:lnTo>
                  <a:lnTo>
                    <a:pt x="2257" y="2002"/>
                  </a:lnTo>
                  <a:lnTo>
                    <a:pt x="2238" y="2036"/>
                  </a:lnTo>
                  <a:lnTo>
                    <a:pt x="2217" y="2067"/>
                  </a:lnTo>
                  <a:lnTo>
                    <a:pt x="2192" y="2094"/>
                  </a:lnTo>
                  <a:lnTo>
                    <a:pt x="2164" y="2116"/>
                  </a:lnTo>
                  <a:lnTo>
                    <a:pt x="2134" y="2134"/>
                  </a:lnTo>
                  <a:lnTo>
                    <a:pt x="2104" y="2146"/>
                  </a:lnTo>
                  <a:lnTo>
                    <a:pt x="2072" y="2152"/>
                  </a:lnTo>
                  <a:lnTo>
                    <a:pt x="2043" y="2153"/>
                  </a:lnTo>
                  <a:lnTo>
                    <a:pt x="2014" y="2148"/>
                  </a:lnTo>
                  <a:lnTo>
                    <a:pt x="1988" y="2139"/>
                  </a:lnTo>
                  <a:lnTo>
                    <a:pt x="1963" y="2124"/>
                  </a:lnTo>
                  <a:lnTo>
                    <a:pt x="1940" y="2106"/>
                  </a:lnTo>
                  <a:lnTo>
                    <a:pt x="1921" y="2082"/>
                  </a:lnTo>
                  <a:lnTo>
                    <a:pt x="1902" y="2055"/>
                  </a:lnTo>
                  <a:lnTo>
                    <a:pt x="1890" y="2030"/>
                  </a:lnTo>
                  <a:lnTo>
                    <a:pt x="1878" y="2003"/>
                  </a:lnTo>
                  <a:lnTo>
                    <a:pt x="1865" y="1969"/>
                  </a:lnTo>
                  <a:lnTo>
                    <a:pt x="1854" y="1932"/>
                  </a:lnTo>
                  <a:lnTo>
                    <a:pt x="1845" y="1901"/>
                  </a:lnTo>
                  <a:lnTo>
                    <a:pt x="1834" y="1871"/>
                  </a:lnTo>
                  <a:lnTo>
                    <a:pt x="1822" y="1844"/>
                  </a:lnTo>
                  <a:lnTo>
                    <a:pt x="1800" y="1804"/>
                  </a:lnTo>
                  <a:lnTo>
                    <a:pt x="1778" y="1770"/>
                  </a:lnTo>
                  <a:lnTo>
                    <a:pt x="1757" y="1743"/>
                  </a:lnTo>
                  <a:lnTo>
                    <a:pt x="1734" y="1719"/>
                  </a:lnTo>
                  <a:lnTo>
                    <a:pt x="1711" y="1701"/>
                  </a:lnTo>
                  <a:lnTo>
                    <a:pt x="1699" y="1695"/>
                  </a:lnTo>
                  <a:lnTo>
                    <a:pt x="1684" y="1690"/>
                  </a:lnTo>
                  <a:lnTo>
                    <a:pt x="1664" y="1685"/>
                  </a:lnTo>
                  <a:lnTo>
                    <a:pt x="1645" y="1684"/>
                  </a:lnTo>
                  <a:lnTo>
                    <a:pt x="1640" y="1684"/>
                  </a:lnTo>
                  <a:lnTo>
                    <a:pt x="1630" y="1685"/>
                  </a:lnTo>
                  <a:lnTo>
                    <a:pt x="1623" y="1690"/>
                  </a:lnTo>
                  <a:lnTo>
                    <a:pt x="1616" y="1696"/>
                  </a:lnTo>
                  <a:lnTo>
                    <a:pt x="1605" y="1711"/>
                  </a:lnTo>
                  <a:lnTo>
                    <a:pt x="1596" y="1732"/>
                  </a:lnTo>
                  <a:lnTo>
                    <a:pt x="1590" y="1756"/>
                  </a:lnTo>
                  <a:lnTo>
                    <a:pt x="1586" y="1783"/>
                  </a:lnTo>
                  <a:lnTo>
                    <a:pt x="1586" y="1811"/>
                  </a:lnTo>
                  <a:lnTo>
                    <a:pt x="1587" y="1823"/>
                  </a:lnTo>
                  <a:lnTo>
                    <a:pt x="1590" y="1838"/>
                  </a:lnTo>
                  <a:lnTo>
                    <a:pt x="1594" y="1856"/>
                  </a:lnTo>
                  <a:lnTo>
                    <a:pt x="1600" y="1876"/>
                  </a:lnTo>
                  <a:lnTo>
                    <a:pt x="1605" y="1896"/>
                  </a:lnTo>
                  <a:lnTo>
                    <a:pt x="1611" y="1916"/>
                  </a:lnTo>
                  <a:lnTo>
                    <a:pt x="1617" y="1933"/>
                  </a:lnTo>
                  <a:lnTo>
                    <a:pt x="1622" y="1947"/>
                  </a:lnTo>
                  <a:lnTo>
                    <a:pt x="1644" y="1997"/>
                  </a:lnTo>
                  <a:lnTo>
                    <a:pt x="1662" y="2043"/>
                  </a:lnTo>
                  <a:lnTo>
                    <a:pt x="1679" y="2087"/>
                  </a:lnTo>
                  <a:lnTo>
                    <a:pt x="1694" y="2128"/>
                  </a:lnTo>
                  <a:lnTo>
                    <a:pt x="1708" y="2166"/>
                  </a:lnTo>
                  <a:lnTo>
                    <a:pt x="1729" y="2221"/>
                  </a:lnTo>
                  <a:lnTo>
                    <a:pt x="1749" y="2273"/>
                  </a:lnTo>
                  <a:lnTo>
                    <a:pt x="1770" y="2323"/>
                  </a:lnTo>
                  <a:lnTo>
                    <a:pt x="1792" y="2373"/>
                  </a:lnTo>
                  <a:lnTo>
                    <a:pt x="1814" y="2422"/>
                  </a:lnTo>
                  <a:lnTo>
                    <a:pt x="1841" y="2471"/>
                  </a:lnTo>
                  <a:lnTo>
                    <a:pt x="1871" y="2521"/>
                  </a:lnTo>
                  <a:lnTo>
                    <a:pt x="1903" y="2573"/>
                  </a:lnTo>
                  <a:lnTo>
                    <a:pt x="1923" y="2597"/>
                  </a:lnTo>
                  <a:lnTo>
                    <a:pt x="1947" y="2624"/>
                  </a:lnTo>
                  <a:lnTo>
                    <a:pt x="1960" y="2639"/>
                  </a:lnTo>
                  <a:lnTo>
                    <a:pt x="1974" y="2657"/>
                  </a:lnTo>
                  <a:lnTo>
                    <a:pt x="1990" y="2675"/>
                  </a:lnTo>
                  <a:lnTo>
                    <a:pt x="2005" y="2695"/>
                  </a:lnTo>
                  <a:lnTo>
                    <a:pt x="2019" y="2718"/>
                  </a:lnTo>
                  <a:lnTo>
                    <a:pt x="2034" y="2744"/>
                  </a:lnTo>
                  <a:lnTo>
                    <a:pt x="2047" y="2772"/>
                  </a:lnTo>
                  <a:lnTo>
                    <a:pt x="2060" y="2803"/>
                  </a:lnTo>
                  <a:lnTo>
                    <a:pt x="2070" y="2838"/>
                  </a:lnTo>
                  <a:lnTo>
                    <a:pt x="2078" y="2876"/>
                  </a:lnTo>
                  <a:lnTo>
                    <a:pt x="2084" y="2917"/>
                  </a:lnTo>
                  <a:lnTo>
                    <a:pt x="2087" y="2964"/>
                  </a:lnTo>
                  <a:lnTo>
                    <a:pt x="2087" y="2970"/>
                  </a:lnTo>
                  <a:lnTo>
                    <a:pt x="2087" y="2972"/>
                  </a:lnTo>
                  <a:lnTo>
                    <a:pt x="2089" y="2984"/>
                  </a:lnTo>
                  <a:lnTo>
                    <a:pt x="2093" y="2993"/>
                  </a:lnTo>
                  <a:lnTo>
                    <a:pt x="2100" y="2998"/>
                  </a:lnTo>
                  <a:lnTo>
                    <a:pt x="2106" y="3000"/>
                  </a:lnTo>
                  <a:lnTo>
                    <a:pt x="2883" y="3000"/>
                  </a:lnTo>
                  <a:lnTo>
                    <a:pt x="2891" y="3000"/>
                  </a:lnTo>
                  <a:lnTo>
                    <a:pt x="2893" y="2999"/>
                  </a:lnTo>
                  <a:lnTo>
                    <a:pt x="2896" y="2998"/>
                  </a:lnTo>
                  <a:lnTo>
                    <a:pt x="2899" y="2996"/>
                  </a:lnTo>
                  <a:lnTo>
                    <a:pt x="2901" y="2993"/>
                  </a:lnTo>
                  <a:lnTo>
                    <a:pt x="2904" y="2990"/>
                  </a:lnTo>
                  <a:lnTo>
                    <a:pt x="2907" y="2985"/>
                  </a:lnTo>
                  <a:lnTo>
                    <a:pt x="2954" y="2854"/>
                  </a:lnTo>
                  <a:lnTo>
                    <a:pt x="3001" y="2721"/>
                  </a:lnTo>
                  <a:lnTo>
                    <a:pt x="3023" y="2658"/>
                  </a:lnTo>
                  <a:lnTo>
                    <a:pt x="3045" y="2592"/>
                  </a:lnTo>
                  <a:lnTo>
                    <a:pt x="3070" y="2521"/>
                  </a:lnTo>
                  <a:lnTo>
                    <a:pt x="3094" y="2447"/>
                  </a:lnTo>
                  <a:lnTo>
                    <a:pt x="3120" y="2369"/>
                  </a:lnTo>
                  <a:lnTo>
                    <a:pt x="3144" y="2296"/>
                  </a:lnTo>
                  <a:lnTo>
                    <a:pt x="3165" y="2229"/>
                  </a:lnTo>
                  <a:lnTo>
                    <a:pt x="3184" y="2166"/>
                  </a:lnTo>
                  <a:lnTo>
                    <a:pt x="3199" y="2107"/>
                  </a:lnTo>
                  <a:lnTo>
                    <a:pt x="3211" y="2051"/>
                  </a:lnTo>
                  <a:lnTo>
                    <a:pt x="3221" y="1998"/>
                  </a:lnTo>
                  <a:lnTo>
                    <a:pt x="3227" y="1946"/>
                  </a:lnTo>
                  <a:lnTo>
                    <a:pt x="3229" y="1897"/>
                  </a:lnTo>
                  <a:lnTo>
                    <a:pt x="3228" y="1849"/>
                  </a:lnTo>
                  <a:lnTo>
                    <a:pt x="3223" y="1802"/>
                  </a:lnTo>
                  <a:lnTo>
                    <a:pt x="3215" y="1763"/>
                  </a:lnTo>
                  <a:lnTo>
                    <a:pt x="3202" y="1723"/>
                  </a:lnTo>
                  <a:lnTo>
                    <a:pt x="3187" y="1680"/>
                  </a:lnTo>
                  <a:lnTo>
                    <a:pt x="3166" y="1635"/>
                  </a:lnTo>
                  <a:lnTo>
                    <a:pt x="3142" y="1587"/>
                  </a:lnTo>
                  <a:lnTo>
                    <a:pt x="3135" y="1583"/>
                  </a:lnTo>
                  <a:lnTo>
                    <a:pt x="3129" y="1580"/>
                  </a:lnTo>
                  <a:lnTo>
                    <a:pt x="3124" y="1578"/>
                  </a:lnTo>
                  <a:lnTo>
                    <a:pt x="3111" y="1575"/>
                  </a:lnTo>
                  <a:lnTo>
                    <a:pt x="3100" y="1569"/>
                  </a:lnTo>
                  <a:lnTo>
                    <a:pt x="3095" y="1596"/>
                  </a:lnTo>
                  <a:lnTo>
                    <a:pt x="3091" y="1623"/>
                  </a:lnTo>
                  <a:lnTo>
                    <a:pt x="3086" y="1653"/>
                  </a:lnTo>
                  <a:lnTo>
                    <a:pt x="3072" y="1727"/>
                  </a:lnTo>
                  <a:lnTo>
                    <a:pt x="3058" y="1800"/>
                  </a:lnTo>
                  <a:lnTo>
                    <a:pt x="3042" y="1885"/>
                  </a:lnTo>
                  <a:lnTo>
                    <a:pt x="3027" y="1967"/>
                  </a:lnTo>
                  <a:lnTo>
                    <a:pt x="3008" y="2046"/>
                  </a:lnTo>
                  <a:lnTo>
                    <a:pt x="2988" y="2120"/>
                  </a:lnTo>
                  <a:lnTo>
                    <a:pt x="2979" y="2139"/>
                  </a:lnTo>
                  <a:lnTo>
                    <a:pt x="2967" y="2154"/>
                  </a:lnTo>
                  <a:lnTo>
                    <a:pt x="2952" y="2165"/>
                  </a:lnTo>
                  <a:lnTo>
                    <a:pt x="2933" y="2172"/>
                  </a:lnTo>
                  <a:lnTo>
                    <a:pt x="2914" y="2174"/>
                  </a:lnTo>
                  <a:lnTo>
                    <a:pt x="2894" y="2170"/>
                  </a:lnTo>
                  <a:lnTo>
                    <a:pt x="2876" y="2162"/>
                  </a:lnTo>
                  <a:lnTo>
                    <a:pt x="2860" y="2150"/>
                  </a:lnTo>
                  <a:lnTo>
                    <a:pt x="2850" y="2135"/>
                  </a:lnTo>
                  <a:lnTo>
                    <a:pt x="2843" y="2116"/>
                  </a:lnTo>
                  <a:lnTo>
                    <a:pt x="2841" y="2097"/>
                  </a:lnTo>
                  <a:lnTo>
                    <a:pt x="2844" y="2077"/>
                  </a:lnTo>
                  <a:lnTo>
                    <a:pt x="2859" y="2022"/>
                  </a:lnTo>
                  <a:lnTo>
                    <a:pt x="2873" y="1964"/>
                  </a:lnTo>
                  <a:lnTo>
                    <a:pt x="2886" y="1902"/>
                  </a:lnTo>
                  <a:lnTo>
                    <a:pt x="2898" y="1838"/>
                  </a:lnTo>
                  <a:lnTo>
                    <a:pt x="2911" y="1772"/>
                  </a:lnTo>
                  <a:lnTo>
                    <a:pt x="2924" y="1700"/>
                  </a:lnTo>
                  <a:lnTo>
                    <a:pt x="2938" y="1624"/>
                  </a:lnTo>
                  <a:lnTo>
                    <a:pt x="2943" y="1597"/>
                  </a:lnTo>
                  <a:lnTo>
                    <a:pt x="2947" y="1575"/>
                  </a:lnTo>
                  <a:lnTo>
                    <a:pt x="2950" y="1557"/>
                  </a:lnTo>
                  <a:lnTo>
                    <a:pt x="2952" y="1540"/>
                  </a:lnTo>
                  <a:lnTo>
                    <a:pt x="2953" y="1526"/>
                  </a:lnTo>
                  <a:lnTo>
                    <a:pt x="2953" y="1512"/>
                  </a:lnTo>
                  <a:lnTo>
                    <a:pt x="2953" y="1498"/>
                  </a:lnTo>
                  <a:lnTo>
                    <a:pt x="2951" y="1484"/>
                  </a:lnTo>
                  <a:lnTo>
                    <a:pt x="2948" y="1469"/>
                  </a:lnTo>
                  <a:lnTo>
                    <a:pt x="2942" y="1452"/>
                  </a:lnTo>
                  <a:lnTo>
                    <a:pt x="2936" y="1433"/>
                  </a:lnTo>
                  <a:lnTo>
                    <a:pt x="2928" y="1411"/>
                  </a:lnTo>
                  <a:lnTo>
                    <a:pt x="2918" y="1386"/>
                  </a:lnTo>
                  <a:lnTo>
                    <a:pt x="2904" y="1356"/>
                  </a:lnTo>
                  <a:lnTo>
                    <a:pt x="2890" y="1322"/>
                  </a:lnTo>
                  <a:lnTo>
                    <a:pt x="2873" y="1285"/>
                  </a:lnTo>
                  <a:lnTo>
                    <a:pt x="2854" y="1256"/>
                  </a:lnTo>
                  <a:lnTo>
                    <a:pt x="2835" y="1232"/>
                  </a:lnTo>
                  <a:lnTo>
                    <a:pt x="2815" y="1215"/>
                  </a:lnTo>
                  <a:lnTo>
                    <a:pt x="2796" y="1205"/>
                  </a:lnTo>
                  <a:lnTo>
                    <a:pt x="2789" y="1202"/>
                  </a:lnTo>
                  <a:lnTo>
                    <a:pt x="2781" y="1201"/>
                  </a:lnTo>
                  <a:lnTo>
                    <a:pt x="2769" y="1201"/>
                  </a:lnTo>
                  <a:lnTo>
                    <a:pt x="2753" y="1205"/>
                  </a:lnTo>
                  <a:lnTo>
                    <a:pt x="2758" y="1257"/>
                  </a:lnTo>
                  <a:lnTo>
                    <a:pt x="2762" y="1309"/>
                  </a:lnTo>
                  <a:lnTo>
                    <a:pt x="2766" y="1362"/>
                  </a:lnTo>
                  <a:lnTo>
                    <a:pt x="2767" y="1413"/>
                  </a:lnTo>
                  <a:lnTo>
                    <a:pt x="2768" y="1463"/>
                  </a:lnTo>
                  <a:lnTo>
                    <a:pt x="2765" y="1513"/>
                  </a:lnTo>
                  <a:lnTo>
                    <a:pt x="2761" y="1559"/>
                  </a:lnTo>
                  <a:lnTo>
                    <a:pt x="2753" y="1602"/>
                  </a:lnTo>
                  <a:lnTo>
                    <a:pt x="2735" y="1681"/>
                  </a:lnTo>
                  <a:lnTo>
                    <a:pt x="2719" y="1755"/>
                  </a:lnTo>
                  <a:lnTo>
                    <a:pt x="2702" y="1825"/>
                  </a:lnTo>
                  <a:lnTo>
                    <a:pt x="2687" y="1888"/>
                  </a:lnTo>
                  <a:lnTo>
                    <a:pt x="2672" y="1947"/>
                  </a:lnTo>
                  <a:lnTo>
                    <a:pt x="2658" y="2000"/>
                  </a:lnTo>
                  <a:lnTo>
                    <a:pt x="2645" y="2047"/>
                  </a:lnTo>
                  <a:lnTo>
                    <a:pt x="2637" y="2065"/>
                  </a:lnTo>
                  <a:lnTo>
                    <a:pt x="2624" y="2080"/>
                  </a:lnTo>
                  <a:lnTo>
                    <a:pt x="2608" y="2092"/>
                  </a:lnTo>
                  <a:lnTo>
                    <a:pt x="2590" y="2099"/>
                  </a:lnTo>
                  <a:lnTo>
                    <a:pt x="2571" y="2101"/>
                  </a:lnTo>
                  <a:lnTo>
                    <a:pt x="2550" y="2097"/>
                  </a:lnTo>
                  <a:lnTo>
                    <a:pt x="2533" y="2089"/>
                  </a:lnTo>
                  <a:lnTo>
                    <a:pt x="2517" y="2076"/>
                  </a:lnTo>
                  <a:lnTo>
                    <a:pt x="2506" y="2061"/>
                  </a:lnTo>
                  <a:lnTo>
                    <a:pt x="2499" y="2043"/>
                  </a:lnTo>
                  <a:lnTo>
                    <a:pt x="2497" y="2023"/>
                  </a:lnTo>
                  <a:lnTo>
                    <a:pt x="2501" y="2004"/>
                  </a:lnTo>
                  <a:lnTo>
                    <a:pt x="2513" y="1959"/>
                  </a:lnTo>
                  <a:lnTo>
                    <a:pt x="2528" y="1906"/>
                  </a:lnTo>
                  <a:lnTo>
                    <a:pt x="2542" y="1848"/>
                  </a:lnTo>
                  <a:lnTo>
                    <a:pt x="2557" y="1785"/>
                  </a:lnTo>
                  <a:lnTo>
                    <a:pt x="2573" y="1717"/>
                  </a:lnTo>
                  <a:lnTo>
                    <a:pt x="2589" y="1645"/>
                  </a:lnTo>
                  <a:lnTo>
                    <a:pt x="2606" y="1570"/>
                  </a:lnTo>
                  <a:lnTo>
                    <a:pt x="2612" y="1532"/>
                  </a:lnTo>
                  <a:lnTo>
                    <a:pt x="2616" y="1491"/>
                  </a:lnTo>
                  <a:lnTo>
                    <a:pt x="2617" y="1447"/>
                  </a:lnTo>
                  <a:lnTo>
                    <a:pt x="2616" y="1400"/>
                  </a:lnTo>
                  <a:lnTo>
                    <a:pt x="2614" y="1352"/>
                  </a:lnTo>
                  <a:lnTo>
                    <a:pt x="2611" y="1303"/>
                  </a:lnTo>
                  <a:lnTo>
                    <a:pt x="2606" y="1254"/>
                  </a:lnTo>
                  <a:lnTo>
                    <a:pt x="2602" y="1206"/>
                  </a:lnTo>
                  <a:lnTo>
                    <a:pt x="2596" y="1158"/>
                  </a:lnTo>
                  <a:lnTo>
                    <a:pt x="2590" y="1101"/>
                  </a:lnTo>
                  <a:lnTo>
                    <a:pt x="2585" y="1046"/>
                  </a:lnTo>
                  <a:lnTo>
                    <a:pt x="2560" y="1044"/>
                  </a:lnTo>
                  <a:close/>
                  <a:moveTo>
                    <a:pt x="2557" y="893"/>
                  </a:moveTo>
                  <a:lnTo>
                    <a:pt x="2599" y="897"/>
                  </a:lnTo>
                  <a:lnTo>
                    <a:pt x="2640" y="905"/>
                  </a:lnTo>
                  <a:lnTo>
                    <a:pt x="2683" y="919"/>
                  </a:lnTo>
                  <a:lnTo>
                    <a:pt x="2687" y="920"/>
                  </a:lnTo>
                  <a:lnTo>
                    <a:pt x="2702" y="929"/>
                  </a:lnTo>
                  <a:lnTo>
                    <a:pt x="2715" y="942"/>
                  </a:lnTo>
                  <a:lnTo>
                    <a:pt x="2724" y="955"/>
                  </a:lnTo>
                  <a:lnTo>
                    <a:pt x="2729" y="971"/>
                  </a:lnTo>
                  <a:lnTo>
                    <a:pt x="2732" y="988"/>
                  </a:lnTo>
                  <a:lnTo>
                    <a:pt x="2734" y="1019"/>
                  </a:lnTo>
                  <a:lnTo>
                    <a:pt x="2737" y="1054"/>
                  </a:lnTo>
                  <a:lnTo>
                    <a:pt x="2773" y="1051"/>
                  </a:lnTo>
                  <a:lnTo>
                    <a:pt x="2809" y="1053"/>
                  </a:lnTo>
                  <a:lnTo>
                    <a:pt x="2844" y="1062"/>
                  </a:lnTo>
                  <a:lnTo>
                    <a:pt x="2876" y="1076"/>
                  </a:lnTo>
                  <a:lnTo>
                    <a:pt x="2905" y="1094"/>
                  </a:lnTo>
                  <a:lnTo>
                    <a:pt x="2933" y="1118"/>
                  </a:lnTo>
                  <a:lnTo>
                    <a:pt x="2960" y="1146"/>
                  </a:lnTo>
                  <a:lnTo>
                    <a:pt x="2985" y="1180"/>
                  </a:lnTo>
                  <a:lnTo>
                    <a:pt x="3007" y="1219"/>
                  </a:lnTo>
                  <a:lnTo>
                    <a:pt x="3028" y="1262"/>
                  </a:lnTo>
                  <a:lnTo>
                    <a:pt x="3045" y="1302"/>
                  </a:lnTo>
                  <a:lnTo>
                    <a:pt x="3059" y="1337"/>
                  </a:lnTo>
                  <a:lnTo>
                    <a:pt x="3072" y="1367"/>
                  </a:lnTo>
                  <a:lnTo>
                    <a:pt x="3082" y="1394"/>
                  </a:lnTo>
                  <a:lnTo>
                    <a:pt x="3089" y="1418"/>
                  </a:lnTo>
                  <a:lnTo>
                    <a:pt x="3095" y="1441"/>
                  </a:lnTo>
                  <a:lnTo>
                    <a:pt x="3111" y="1434"/>
                  </a:lnTo>
                  <a:lnTo>
                    <a:pt x="3127" y="1430"/>
                  </a:lnTo>
                  <a:lnTo>
                    <a:pt x="3145" y="1430"/>
                  </a:lnTo>
                  <a:lnTo>
                    <a:pt x="3160" y="1433"/>
                  </a:lnTo>
                  <a:lnTo>
                    <a:pt x="3179" y="1439"/>
                  </a:lnTo>
                  <a:lnTo>
                    <a:pt x="3199" y="1447"/>
                  </a:lnTo>
                  <a:lnTo>
                    <a:pt x="3220" y="1458"/>
                  </a:lnTo>
                  <a:lnTo>
                    <a:pt x="3239" y="1472"/>
                  </a:lnTo>
                  <a:lnTo>
                    <a:pt x="3256" y="1487"/>
                  </a:lnTo>
                  <a:lnTo>
                    <a:pt x="3268" y="1502"/>
                  </a:lnTo>
                  <a:lnTo>
                    <a:pt x="3295" y="1553"/>
                  </a:lnTo>
                  <a:lnTo>
                    <a:pt x="3317" y="1602"/>
                  </a:lnTo>
                  <a:lnTo>
                    <a:pt x="3336" y="1649"/>
                  </a:lnTo>
                  <a:lnTo>
                    <a:pt x="3351" y="1693"/>
                  </a:lnTo>
                  <a:lnTo>
                    <a:pt x="3362" y="1737"/>
                  </a:lnTo>
                  <a:lnTo>
                    <a:pt x="3371" y="1779"/>
                  </a:lnTo>
                  <a:lnTo>
                    <a:pt x="3377" y="1831"/>
                  </a:lnTo>
                  <a:lnTo>
                    <a:pt x="3380" y="1882"/>
                  </a:lnTo>
                  <a:lnTo>
                    <a:pt x="3379" y="1933"/>
                  </a:lnTo>
                  <a:lnTo>
                    <a:pt x="3375" y="1986"/>
                  </a:lnTo>
                  <a:lnTo>
                    <a:pt x="3366" y="2040"/>
                  </a:lnTo>
                  <a:lnTo>
                    <a:pt x="3356" y="2096"/>
                  </a:lnTo>
                  <a:lnTo>
                    <a:pt x="3343" y="2153"/>
                  </a:lnTo>
                  <a:lnTo>
                    <a:pt x="3326" y="2213"/>
                  </a:lnTo>
                  <a:lnTo>
                    <a:pt x="3308" y="2278"/>
                  </a:lnTo>
                  <a:lnTo>
                    <a:pt x="3286" y="2345"/>
                  </a:lnTo>
                  <a:lnTo>
                    <a:pt x="3263" y="2417"/>
                  </a:lnTo>
                  <a:lnTo>
                    <a:pt x="3237" y="2494"/>
                  </a:lnTo>
                  <a:lnTo>
                    <a:pt x="3212" y="2570"/>
                  </a:lnTo>
                  <a:lnTo>
                    <a:pt x="3188" y="2640"/>
                  </a:lnTo>
                  <a:lnTo>
                    <a:pt x="3165" y="2707"/>
                  </a:lnTo>
                  <a:lnTo>
                    <a:pt x="3143" y="2770"/>
                  </a:lnTo>
                  <a:lnTo>
                    <a:pt x="3095" y="2904"/>
                  </a:lnTo>
                  <a:lnTo>
                    <a:pt x="3048" y="3036"/>
                  </a:lnTo>
                  <a:lnTo>
                    <a:pt x="3036" y="3063"/>
                  </a:lnTo>
                  <a:lnTo>
                    <a:pt x="3020" y="3086"/>
                  </a:lnTo>
                  <a:lnTo>
                    <a:pt x="3001" y="3107"/>
                  </a:lnTo>
                  <a:lnTo>
                    <a:pt x="2979" y="3124"/>
                  </a:lnTo>
                  <a:lnTo>
                    <a:pt x="2956" y="3136"/>
                  </a:lnTo>
                  <a:lnTo>
                    <a:pt x="2930" y="3146"/>
                  </a:lnTo>
                  <a:lnTo>
                    <a:pt x="2902" y="3150"/>
                  </a:lnTo>
                  <a:lnTo>
                    <a:pt x="2896" y="3151"/>
                  </a:lnTo>
                  <a:lnTo>
                    <a:pt x="2891" y="3151"/>
                  </a:lnTo>
                  <a:lnTo>
                    <a:pt x="2106" y="3151"/>
                  </a:lnTo>
                  <a:lnTo>
                    <a:pt x="2076" y="3148"/>
                  </a:lnTo>
                  <a:lnTo>
                    <a:pt x="2047" y="3140"/>
                  </a:lnTo>
                  <a:lnTo>
                    <a:pt x="2021" y="3126"/>
                  </a:lnTo>
                  <a:lnTo>
                    <a:pt x="1997" y="3109"/>
                  </a:lnTo>
                  <a:lnTo>
                    <a:pt x="1976" y="3087"/>
                  </a:lnTo>
                  <a:lnTo>
                    <a:pt x="1960" y="3062"/>
                  </a:lnTo>
                  <a:lnTo>
                    <a:pt x="1948" y="3034"/>
                  </a:lnTo>
                  <a:lnTo>
                    <a:pt x="1939" y="3003"/>
                  </a:lnTo>
                  <a:lnTo>
                    <a:pt x="1936" y="2972"/>
                  </a:lnTo>
                  <a:lnTo>
                    <a:pt x="1937" y="2968"/>
                  </a:lnTo>
                  <a:lnTo>
                    <a:pt x="1933" y="2929"/>
                  </a:lnTo>
                  <a:lnTo>
                    <a:pt x="1928" y="2895"/>
                  </a:lnTo>
                  <a:lnTo>
                    <a:pt x="1921" y="2864"/>
                  </a:lnTo>
                  <a:lnTo>
                    <a:pt x="1911" y="2838"/>
                  </a:lnTo>
                  <a:lnTo>
                    <a:pt x="1900" y="2813"/>
                  </a:lnTo>
                  <a:lnTo>
                    <a:pt x="1888" y="2793"/>
                  </a:lnTo>
                  <a:lnTo>
                    <a:pt x="1876" y="2773"/>
                  </a:lnTo>
                  <a:lnTo>
                    <a:pt x="1861" y="2756"/>
                  </a:lnTo>
                  <a:lnTo>
                    <a:pt x="1848" y="2739"/>
                  </a:lnTo>
                  <a:lnTo>
                    <a:pt x="1835" y="2724"/>
                  </a:lnTo>
                  <a:lnTo>
                    <a:pt x="1815" y="2703"/>
                  </a:lnTo>
                  <a:lnTo>
                    <a:pt x="1797" y="2681"/>
                  </a:lnTo>
                  <a:lnTo>
                    <a:pt x="1779" y="2658"/>
                  </a:lnTo>
                  <a:lnTo>
                    <a:pt x="1742" y="2600"/>
                  </a:lnTo>
                  <a:lnTo>
                    <a:pt x="1709" y="2545"/>
                  </a:lnTo>
                  <a:lnTo>
                    <a:pt x="1681" y="2491"/>
                  </a:lnTo>
                  <a:lnTo>
                    <a:pt x="1655" y="2437"/>
                  </a:lnTo>
                  <a:lnTo>
                    <a:pt x="1631" y="2383"/>
                  </a:lnTo>
                  <a:lnTo>
                    <a:pt x="1610" y="2329"/>
                  </a:lnTo>
                  <a:lnTo>
                    <a:pt x="1588" y="2275"/>
                  </a:lnTo>
                  <a:lnTo>
                    <a:pt x="1568" y="2219"/>
                  </a:lnTo>
                  <a:lnTo>
                    <a:pt x="1553" y="2180"/>
                  </a:lnTo>
                  <a:lnTo>
                    <a:pt x="1538" y="2140"/>
                  </a:lnTo>
                  <a:lnTo>
                    <a:pt x="1522" y="2098"/>
                  </a:lnTo>
                  <a:lnTo>
                    <a:pt x="1504" y="2054"/>
                  </a:lnTo>
                  <a:lnTo>
                    <a:pt x="1485" y="2006"/>
                  </a:lnTo>
                  <a:lnTo>
                    <a:pt x="1477" y="1988"/>
                  </a:lnTo>
                  <a:lnTo>
                    <a:pt x="1469" y="1967"/>
                  </a:lnTo>
                  <a:lnTo>
                    <a:pt x="1462" y="1942"/>
                  </a:lnTo>
                  <a:lnTo>
                    <a:pt x="1455" y="1916"/>
                  </a:lnTo>
                  <a:lnTo>
                    <a:pt x="1448" y="1889"/>
                  </a:lnTo>
                  <a:lnTo>
                    <a:pt x="1442" y="1864"/>
                  </a:lnTo>
                  <a:lnTo>
                    <a:pt x="1438" y="1840"/>
                  </a:lnTo>
                  <a:lnTo>
                    <a:pt x="1436" y="1818"/>
                  </a:lnTo>
                  <a:lnTo>
                    <a:pt x="1436" y="1781"/>
                  </a:lnTo>
                  <a:lnTo>
                    <a:pt x="1439" y="1744"/>
                  </a:lnTo>
                  <a:lnTo>
                    <a:pt x="1447" y="1709"/>
                  </a:lnTo>
                  <a:lnTo>
                    <a:pt x="1457" y="1675"/>
                  </a:lnTo>
                  <a:lnTo>
                    <a:pt x="1469" y="1646"/>
                  </a:lnTo>
                  <a:lnTo>
                    <a:pt x="1486" y="1618"/>
                  </a:lnTo>
                  <a:lnTo>
                    <a:pt x="1505" y="1593"/>
                  </a:lnTo>
                  <a:lnTo>
                    <a:pt x="1527" y="1573"/>
                  </a:lnTo>
                  <a:lnTo>
                    <a:pt x="1550" y="1558"/>
                  </a:lnTo>
                  <a:lnTo>
                    <a:pt x="1577" y="1545"/>
                  </a:lnTo>
                  <a:lnTo>
                    <a:pt x="1605" y="1537"/>
                  </a:lnTo>
                  <a:lnTo>
                    <a:pt x="1634" y="1534"/>
                  </a:lnTo>
                  <a:lnTo>
                    <a:pt x="1669" y="1535"/>
                  </a:lnTo>
                  <a:lnTo>
                    <a:pt x="1704" y="1540"/>
                  </a:lnTo>
                  <a:lnTo>
                    <a:pt x="1738" y="1549"/>
                  </a:lnTo>
                  <a:lnTo>
                    <a:pt x="1769" y="1562"/>
                  </a:lnTo>
                  <a:lnTo>
                    <a:pt x="1797" y="1577"/>
                  </a:lnTo>
                  <a:lnTo>
                    <a:pt x="1832" y="1605"/>
                  </a:lnTo>
                  <a:lnTo>
                    <a:pt x="1864" y="1637"/>
                  </a:lnTo>
                  <a:lnTo>
                    <a:pt x="1896" y="1677"/>
                  </a:lnTo>
                  <a:lnTo>
                    <a:pt x="1926" y="1722"/>
                  </a:lnTo>
                  <a:lnTo>
                    <a:pt x="1956" y="1774"/>
                  </a:lnTo>
                  <a:lnTo>
                    <a:pt x="1973" y="1813"/>
                  </a:lnTo>
                  <a:lnTo>
                    <a:pt x="1987" y="1852"/>
                  </a:lnTo>
                  <a:lnTo>
                    <a:pt x="1999" y="1889"/>
                  </a:lnTo>
                  <a:lnTo>
                    <a:pt x="2008" y="1920"/>
                  </a:lnTo>
                  <a:lnTo>
                    <a:pt x="2017" y="1945"/>
                  </a:lnTo>
                  <a:lnTo>
                    <a:pt x="2026" y="1966"/>
                  </a:lnTo>
                  <a:lnTo>
                    <a:pt x="2035" y="1982"/>
                  </a:lnTo>
                  <a:lnTo>
                    <a:pt x="2042" y="1994"/>
                  </a:lnTo>
                  <a:lnTo>
                    <a:pt x="2050" y="2001"/>
                  </a:lnTo>
                  <a:lnTo>
                    <a:pt x="2057" y="2003"/>
                  </a:lnTo>
                  <a:lnTo>
                    <a:pt x="2068" y="2000"/>
                  </a:lnTo>
                  <a:lnTo>
                    <a:pt x="2080" y="1992"/>
                  </a:lnTo>
                  <a:lnTo>
                    <a:pt x="2092" y="1980"/>
                  </a:lnTo>
                  <a:lnTo>
                    <a:pt x="2106" y="1965"/>
                  </a:lnTo>
                  <a:lnTo>
                    <a:pt x="2118" y="1944"/>
                  </a:lnTo>
                  <a:lnTo>
                    <a:pt x="2127" y="1919"/>
                  </a:lnTo>
                  <a:lnTo>
                    <a:pt x="2142" y="1872"/>
                  </a:lnTo>
                  <a:lnTo>
                    <a:pt x="2157" y="1822"/>
                  </a:lnTo>
                  <a:lnTo>
                    <a:pt x="2171" y="1769"/>
                  </a:lnTo>
                  <a:lnTo>
                    <a:pt x="2185" y="1717"/>
                  </a:lnTo>
                  <a:lnTo>
                    <a:pt x="2197" y="1664"/>
                  </a:lnTo>
                  <a:lnTo>
                    <a:pt x="2208" y="1611"/>
                  </a:lnTo>
                  <a:lnTo>
                    <a:pt x="2219" y="1561"/>
                  </a:lnTo>
                  <a:lnTo>
                    <a:pt x="2226" y="1512"/>
                  </a:lnTo>
                  <a:lnTo>
                    <a:pt x="2232" y="1465"/>
                  </a:lnTo>
                  <a:lnTo>
                    <a:pt x="2234" y="1424"/>
                  </a:lnTo>
                  <a:lnTo>
                    <a:pt x="2236" y="1377"/>
                  </a:lnTo>
                  <a:lnTo>
                    <a:pt x="2238" y="1332"/>
                  </a:lnTo>
                  <a:lnTo>
                    <a:pt x="2241" y="1288"/>
                  </a:lnTo>
                  <a:lnTo>
                    <a:pt x="2245" y="1245"/>
                  </a:lnTo>
                  <a:lnTo>
                    <a:pt x="2252" y="1204"/>
                  </a:lnTo>
                  <a:lnTo>
                    <a:pt x="2259" y="1164"/>
                  </a:lnTo>
                  <a:lnTo>
                    <a:pt x="2269" y="1126"/>
                  </a:lnTo>
                  <a:lnTo>
                    <a:pt x="2281" y="1089"/>
                  </a:lnTo>
                  <a:lnTo>
                    <a:pt x="2298" y="1056"/>
                  </a:lnTo>
                  <a:lnTo>
                    <a:pt x="2316" y="1025"/>
                  </a:lnTo>
                  <a:lnTo>
                    <a:pt x="2340" y="997"/>
                  </a:lnTo>
                  <a:lnTo>
                    <a:pt x="2373" y="966"/>
                  </a:lnTo>
                  <a:lnTo>
                    <a:pt x="2408" y="941"/>
                  </a:lnTo>
                  <a:lnTo>
                    <a:pt x="2443" y="920"/>
                  </a:lnTo>
                  <a:lnTo>
                    <a:pt x="2480" y="906"/>
                  </a:lnTo>
                  <a:lnTo>
                    <a:pt x="2518" y="897"/>
                  </a:lnTo>
                  <a:lnTo>
                    <a:pt x="2557" y="893"/>
                  </a:lnTo>
                  <a:close/>
                  <a:moveTo>
                    <a:pt x="1293" y="571"/>
                  </a:moveTo>
                  <a:lnTo>
                    <a:pt x="1222" y="595"/>
                  </a:lnTo>
                  <a:lnTo>
                    <a:pt x="1154" y="622"/>
                  </a:lnTo>
                  <a:lnTo>
                    <a:pt x="1089" y="654"/>
                  </a:lnTo>
                  <a:lnTo>
                    <a:pt x="1027" y="691"/>
                  </a:lnTo>
                  <a:lnTo>
                    <a:pt x="967" y="732"/>
                  </a:lnTo>
                  <a:lnTo>
                    <a:pt x="911" y="777"/>
                  </a:lnTo>
                  <a:lnTo>
                    <a:pt x="857" y="826"/>
                  </a:lnTo>
                  <a:lnTo>
                    <a:pt x="808" y="878"/>
                  </a:lnTo>
                  <a:lnTo>
                    <a:pt x="763" y="934"/>
                  </a:lnTo>
                  <a:lnTo>
                    <a:pt x="721" y="994"/>
                  </a:lnTo>
                  <a:lnTo>
                    <a:pt x="684" y="1056"/>
                  </a:lnTo>
                  <a:lnTo>
                    <a:pt x="787" y="1086"/>
                  </a:lnTo>
                  <a:lnTo>
                    <a:pt x="893" y="1112"/>
                  </a:lnTo>
                  <a:lnTo>
                    <a:pt x="1000" y="1135"/>
                  </a:lnTo>
                  <a:lnTo>
                    <a:pt x="1108" y="1153"/>
                  </a:lnTo>
                  <a:lnTo>
                    <a:pt x="1120" y="1078"/>
                  </a:lnTo>
                  <a:lnTo>
                    <a:pt x="1134" y="1004"/>
                  </a:lnTo>
                  <a:lnTo>
                    <a:pt x="1151" y="932"/>
                  </a:lnTo>
                  <a:lnTo>
                    <a:pt x="1169" y="863"/>
                  </a:lnTo>
                  <a:lnTo>
                    <a:pt x="1190" y="797"/>
                  </a:lnTo>
                  <a:lnTo>
                    <a:pt x="1213" y="735"/>
                  </a:lnTo>
                  <a:lnTo>
                    <a:pt x="1237" y="676"/>
                  </a:lnTo>
                  <a:lnTo>
                    <a:pt x="1264" y="621"/>
                  </a:lnTo>
                  <a:lnTo>
                    <a:pt x="1293" y="571"/>
                  </a:lnTo>
                  <a:close/>
                  <a:moveTo>
                    <a:pt x="1567" y="533"/>
                  </a:moveTo>
                  <a:lnTo>
                    <a:pt x="1544" y="536"/>
                  </a:lnTo>
                  <a:lnTo>
                    <a:pt x="1522" y="546"/>
                  </a:lnTo>
                  <a:lnTo>
                    <a:pt x="1498" y="561"/>
                  </a:lnTo>
                  <a:lnTo>
                    <a:pt x="1474" y="582"/>
                  </a:lnTo>
                  <a:lnTo>
                    <a:pt x="1451" y="610"/>
                  </a:lnTo>
                  <a:lnTo>
                    <a:pt x="1426" y="643"/>
                  </a:lnTo>
                  <a:lnTo>
                    <a:pt x="1403" y="681"/>
                  </a:lnTo>
                  <a:lnTo>
                    <a:pt x="1381" y="725"/>
                  </a:lnTo>
                  <a:lnTo>
                    <a:pt x="1358" y="774"/>
                  </a:lnTo>
                  <a:lnTo>
                    <a:pt x="1338" y="827"/>
                  </a:lnTo>
                  <a:lnTo>
                    <a:pt x="1318" y="886"/>
                  </a:lnTo>
                  <a:lnTo>
                    <a:pt x="1300" y="951"/>
                  </a:lnTo>
                  <a:lnTo>
                    <a:pt x="1283" y="1020"/>
                  </a:lnTo>
                  <a:lnTo>
                    <a:pt x="1269" y="1094"/>
                  </a:lnTo>
                  <a:lnTo>
                    <a:pt x="1257" y="1172"/>
                  </a:lnTo>
                  <a:lnTo>
                    <a:pt x="1358" y="1180"/>
                  </a:lnTo>
                  <a:lnTo>
                    <a:pt x="1461" y="1185"/>
                  </a:lnTo>
                  <a:lnTo>
                    <a:pt x="1565" y="1187"/>
                  </a:lnTo>
                  <a:lnTo>
                    <a:pt x="1668" y="1185"/>
                  </a:lnTo>
                  <a:lnTo>
                    <a:pt x="1773" y="1180"/>
                  </a:lnTo>
                  <a:lnTo>
                    <a:pt x="1877" y="1171"/>
                  </a:lnTo>
                  <a:lnTo>
                    <a:pt x="1864" y="1096"/>
                  </a:lnTo>
                  <a:lnTo>
                    <a:pt x="1850" y="1024"/>
                  </a:lnTo>
                  <a:lnTo>
                    <a:pt x="1835" y="957"/>
                  </a:lnTo>
                  <a:lnTo>
                    <a:pt x="1817" y="893"/>
                  </a:lnTo>
                  <a:lnTo>
                    <a:pt x="1798" y="834"/>
                  </a:lnTo>
                  <a:lnTo>
                    <a:pt x="1777" y="780"/>
                  </a:lnTo>
                  <a:lnTo>
                    <a:pt x="1757" y="731"/>
                  </a:lnTo>
                  <a:lnTo>
                    <a:pt x="1734" y="686"/>
                  </a:lnTo>
                  <a:lnTo>
                    <a:pt x="1710" y="647"/>
                  </a:lnTo>
                  <a:lnTo>
                    <a:pt x="1687" y="613"/>
                  </a:lnTo>
                  <a:lnTo>
                    <a:pt x="1663" y="585"/>
                  </a:lnTo>
                  <a:lnTo>
                    <a:pt x="1639" y="563"/>
                  </a:lnTo>
                  <a:lnTo>
                    <a:pt x="1615" y="547"/>
                  </a:lnTo>
                  <a:lnTo>
                    <a:pt x="1590" y="537"/>
                  </a:lnTo>
                  <a:lnTo>
                    <a:pt x="1567" y="533"/>
                  </a:lnTo>
                  <a:close/>
                  <a:moveTo>
                    <a:pt x="1567" y="384"/>
                  </a:moveTo>
                  <a:lnTo>
                    <a:pt x="1567" y="384"/>
                  </a:lnTo>
                  <a:lnTo>
                    <a:pt x="1649" y="386"/>
                  </a:lnTo>
                  <a:lnTo>
                    <a:pt x="1729" y="395"/>
                  </a:lnTo>
                  <a:lnTo>
                    <a:pt x="1808" y="408"/>
                  </a:lnTo>
                  <a:lnTo>
                    <a:pt x="1886" y="428"/>
                  </a:lnTo>
                  <a:lnTo>
                    <a:pt x="1962" y="452"/>
                  </a:lnTo>
                  <a:lnTo>
                    <a:pt x="2036" y="482"/>
                  </a:lnTo>
                  <a:lnTo>
                    <a:pt x="2107" y="517"/>
                  </a:lnTo>
                  <a:lnTo>
                    <a:pt x="2177" y="556"/>
                  </a:lnTo>
                  <a:lnTo>
                    <a:pt x="2243" y="601"/>
                  </a:lnTo>
                  <a:lnTo>
                    <a:pt x="2307" y="650"/>
                  </a:lnTo>
                  <a:lnTo>
                    <a:pt x="2368" y="704"/>
                  </a:lnTo>
                  <a:lnTo>
                    <a:pt x="2381" y="720"/>
                  </a:lnTo>
                  <a:lnTo>
                    <a:pt x="2388" y="738"/>
                  </a:lnTo>
                  <a:lnTo>
                    <a:pt x="2391" y="756"/>
                  </a:lnTo>
                  <a:lnTo>
                    <a:pt x="2389" y="776"/>
                  </a:lnTo>
                  <a:lnTo>
                    <a:pt x="2382" y="794"/>
                  </a:lnTo>
                  <a:lnTo>
                    <a:pt x="2370" y="811"/>
                  </a:lnTo>
                  <a:lnTo>
                    <a:pt x="2354" y="823"/>
                  </a:lnTo>
                  <a:lnTo>
                    <a:pt x="2337" y="831"/>
                  </a:lnTo>
                  <a:lnTo>
                    <a:pt x="2317" y="833"/>
                  </a:lnTo>
                  <a:lnTo>
                    <a:pt x="2298" y="831"/>
                  </a:lnTo>
                  <a:lnTo>
                    <a:pt x="2280" y="825"/>
                  </a:lnTo>
                  <a:lnTo>
                    <a:pt x="2264" y="813"/>
                  </a:lnTo>
                  <a:lnTo>
                    <a:pt x="2210" y="766"/>
                  </a:lnTo>
                  <a:lnTo>
                    <a:pt x="2155" y="723"/>
                  </a:lnTo>
                  <a:lnTo>
                    <a:pt x="2096" y="684"/>
                  </a:lnTo>
                  <a:lnTo>
                    <a:pt x="2036" y="649"/>
                  </a:lnTo>
                  <a:lnTo>
                    <a:pt x="1972" y="618"/>
                  </a:lnTo>
                  <a:lnTo>
                    <a:pt x="1908" y="593"/>
                  </a:lnTo>
                  <a:lnTo>
                    <a:pt x="1842" y="571"/>
                  </a:lnTo>
                  <a:lnTo>
                    <a:pt x="1867" y="614"/>
                  </a:lnTo>
                  <a:lnTo>
                    <a:pt x="1891" y="661"/>
                  </a:lnTo>
                  <a:lnTo>
                    <a:pt x="1915" y="715"/>
                  </a:lnTo>
                  <a:lnTo>
                    <a:pt x="1939" y="782"/>
                  </a:lnTo>
                  <a:lnTo>
                    <a:pt x="1962" y="853"/>
                  </a:lnTo>
                  <a:lnTo>
                    <a:pt x="1983" y="927"/>
                  </a:lnTo>
                  <a:lnTo>
                    <a:pt x="2001" y="1005"/>
                  </a:lnTo>
                  <a:lnTo>
                    <a:pt x="2016" y="1087"/>
                  </a:lnTo>
                  <a:lnTo>
                    <a:pt x="2029" y="1172"/>
                  </a:lnTo>
                  <a:lnTo>
                    <a:pt x="2039" y="1260"/>
                  </a:lnTo>
                  <a:lnTo>
                    <a:pt x="2046" y="1349"/>
                  </a:lnTo>
                  <a:lnTo>
                    <a:pt x="2051" y="1441"/>
                  </a:lnTo>
                  <a:lnTo>
                    <a:pt x="2049" y="1460"/>
                  </a:lnTo>
                  <a:lnTo>
                    <a:pt x="2042" y="1479"/>
                  </a:lnTo>
                  <a:lnTo>
                    <a:pt x="2031" y="1494"/>
                  </a:lnTo>
                  <a:lnTo>
                    <a:pt x="2015" y="1506"/>
                  </a:lnTo>
                  <a:lnTo>
                    <a:pt x="1998" y="1515"/>
                  </a:lnTo>
                  <a:lnTo>
                    <a:pt x="1978" y="1518"/>
                  </a:lnTo>
                  <a:lnTo>
                    <a:pt x="1958" y="1517"/>
                  </a:lnTo>
                  <a:lnTo>
                    <a:pt x="1939" y="1509"/>
                  </a:lnTo>
                  <a:lnTo>
                    <a:pt x="1924" y="1498"/>
                  </a:lnTo>
                  <a:lnTo>
                    <a:pt x="1912" y="1483"/>
                  </a:lnTo>
                  <a:lnTo>
                    <a:pt x="1903" y="1465"/>
                  </a:lnTo>
                  <a:lnTo>
                    <a:pt x="1900" y="1446"/>
                  </a:lnTo>
                  <a:lnTo>
                    <a:pt x="1897" y="1383"/>
                  </a:lnTo>
                  <a:lnTo>
                    <a:pt x="1893" y="1320"/>
                  </a:lnTo>
                  <a:lnTo>
                    <a:pt x="1784" y="1329"/>
                  </a:lnTo>
                  <a:lnTo>
                    <a:pt x="1675" y="1336"/>
                  </a:lnTo>
                  <a:lnTo>
                    <a:pt x="1565" y="1337"/>
                  </a:lnTo>
                  <a:lnTo>
                    <a:pt x="1456" y="1336"/>
                  </a:lnTo>
                  <a:lnTo>
                    <a:pt x="1347" y="1330"/>
                  </a:lnTo>
                  <a:lnTo>
                    <a:pt x="1240" y="1321"/>
                  </a:lnTo>
                  <a:lnTo>
                    <a:pt x="1236" y="1391"/>
                  </a:lnTo>
                  <a:lnTo>
                    <a:pt x="1233" y="1462"/>
                  </a:lnTo>
                  <a:lnTo>
                    <a:pt x="1232" y="1537"/>
                  </a:lnTo>
                  <a:lnTo>
                    <a:pt x="1234" y="1619"/>
                  </a:lnTo>
                  <a:lnTo>
                    <a:pt x="1239" y="1699"/>
                  </a:lnTo>
                  <a:lnTo>
                    <a:pt x="1248" y="1777"/>
                  </a:lnTo>
                  <a:lnTo>
                    <a:pt x="1260" y="1853"/>
                  </a:lnTo>
                  <a:lnTo>
                    <a:pt x="1274" y="1927"/>
                  </a:lnTo>
                  <a:lnTo>
                    <a:pt x="1291" y="1998"/>
                  </a:lnTo>
                  <a:lnTo>
                    <a:pt x="1308" y="2065"/>
                  </a:lnTo>
                  <a:lnTo>
                    <a:pt x="1329" y="2131"/>
                  </a:lnTo>
                  <a:lnTo>
                    <a:pt x="1350" y="2192"/>
                  </a:lnTo>
                  <a:lnTo>
                    <a:pt x="1373" y="2250"/>
                  </a:lnTo>
                  <a:lnTo>
                    <a:pt x="1395" y="2305"/>
                  </a:lnTo>
                  <a:lnTo>
                    <a:pt x="1419" y="2355"/>
                  </a:lnTo>
                  <a:lnTo>
                    <a:pt x="1442" y="2402"/>
                  </a:lnTo>
                  <a:lnTo>
                    <a:pt x="1466" y="2443"/>
                  </a:lnTo>
                  <a:lnTo>
                    <a:pt x="1489" y="2481"/>
                  </a:lnTo>
                  <a:lnTo>
                    <a:pt x="1511" y="2512"/>
                  </a:lnTo>
                  <a:lnTo>
                    <a:pt x="1532" y="2539"/>
                  </a:lnTo>
                  <a:lnTo>
                    <a:pt x="1551" y="2560"/>
                  </a:lnTo>
                  <a:lnTo>
                    <a:pt x="1552" y="2561"/>
                  </a:lnTo>
                  <a:lnTo>
                    <a:pt x="1552" y="2562"/>
                  </a:lnTo>
                  <a:lnTo>
                    <a:pt x="1552" y="2562"/>
                  </a:lnTo>
                  <a:lnTo>
                    <a:pt x="1562" y="2574"/>
                  </a:lnTo>
                  <a:lnTo>
                    <a:pt x="1568" y="2587"/>
                  </a:lnTo>
                  <a:lnTo>
                    <a:pt x="1572" y="2602"/>
                  </a:lnTo>
                  <a:lnTo>
                    <a:pt x="1573" y="2618"/>
                  </a:lnTo>
                  <a:lnTo>
                    <a:pt x="1573" y="2618"/>
                  </a:lnTo>
                  <a:lnTo>
                    <a:pt x="1573" y="2618"/>
                  </a:lnTo>
                  <a:lnTo>
                    <a:pt x="1572" y="2624"/>
                  </a:lnTo>
                  <a:lnTo>
                    <a:pt x="1572" y="2624"/>
                  </a:lnTo>
                  <a:lnTo>
                    <a:pt x="1567" y="2643"/>
                  </a:lnTo>
                  <a:lnTo>
                    <a:pt x="1567" y="2643"/>
                  </a:lnTo>
                  <a:lnTo>
                    <a:pt x="1567" y="2643"/>
                  </a:lnTo>
                  <a:lnTo>
                    <a:pt x="1560" y="2656"/>
                  </a:lnTo>
                  <a:lnTo>
                    <a:pt x="1550" y="2667"/>
                  </a:lnTo>
                  <a:lnTo>
                    <a:pt x="1538" y="2677"/>
                  </a:lnTo>
                  <a:lnTo>
                    <a:pt x="1524" y="2684"/>
                  </a:lnTo>
                  <a:lnTo>
                    <a:pt x="1511" y="2687"/>
                  </a:lnTo>
                  <a:lnTo>
                    <a:pt x="1498" y="2688"/>
                  </a:lnTo>
                  <a:lnTo>
                    <a:pt x="1495" y="2688"/>
                  </a:lnTo>
                  <a:lnTo>
                    <a:pt x="1493" y="2688"/>
                  </a:lnTo>
                  <a:lnTo>
                    <a:pt x="1407" y="2680"/>
                  </a:lnTo>
                  <a:lnTo>
                    <a:pt x="1322" y="2665"/>
                  </a:lnTo>
                  <a:lnTo>
                    <a:pt x="1241" y="2644"/>
                  </a:lnTo>
                  <a:lnTo>
                    <a:pt x="1162" y="2618"/>
                  </a:lnTo>
                  <a:lnTo>
                    <a:pt x="1085" y="2586"/>
                  </a:lnTo>
                  <a:lnTo>
                    <a:pt x="1012" y="2549"/>
                  </a:lnTo>
                  <a:lnTo>
                    <a:pt x="941" y="2508"/>
                  </a:lnTo>
                  <a:lnTo>
                    <a:pt x="875" y="2461"/>
                  </a:lnTo>
                  <a:lnTo>
                    <a:pt x="811" y="2410"/>
                  </a:lnTo>
                  <a:lnTo>
                    <a:pt x="752" y="2355"/>
                  </a:lnTo>
                  <a:lnTo>
                    <a:pt x="696" y="2296"/>
                  </a:lnTo>
                  <a:lnTo>
                    <a:pt x="645" y="2233"/>
                  </a:lnTo>
                  <a:lnTo>
                    <a:pt x="598" y="2166"/>
                  </a:lnTo>
                  <a:lnTo>
                    <a:pt x="555" y="2097"/>
                  </a:lnTo>
                  <a:lnTo>
                    <a:pt x="517" y="2024"/>
                  </a:lnTo>
                  <a:lnTo>
                    <a:pt x="486" y="1948"/>
                  </a:lnTo>
                  <a:lnTo>
                    <a:pt x="459" y="1871"/>
                  </a:lnTo>
                  <a:lnTo>
                    <a:pt x="437" y="1790"/>
                  </a:lnTo>
                  <a:lnTo>
                    <a:pt x="422" y="1708"/>
                  </a:lnTo>
                  <a:lnTo>
                    <a:pt x="413" y="1623"/>
                  </a:lnTo>
                  <a:lnTo>
                    <a:pt x="410" y="1537"/>
                  </a:lnTo>
                  <a:lnTo>
                    <a:pt x="413" y="1451"/>
                  </a:lnTo>
                  <a:lnTo>
                    <a:pt x="422" y="1367"/>
                  </a:lnTo>
                  <a:lnTo>
                    <a:pt x="437" y="1284"/>
                  </a:lnTo>
                  <a:lnTo>
                    <a:pt x="459" y="1205"/>
                  </a:lnTo>
                  <a:lnTo>
                    <a:pt x="486" y="1127"/>
                  </a:lnTo>
                  <a:lnTo>
                    <a:pt x="517" y="1051"/>
                  </a:lnTo>
                  <a:lnTo>
                    <a:pt x="554" y="978"/>
                  </a:lnTo>
                  <a:lnTo>
                    <a:pt x="597" y="910"/>
                  </a:lnTo>
                  <a:lnTo>
                    <a:pt x="643" y="843"/>
                  </a:lnTo>
                  <a:lnTo>
                    <a:pt x="694" y="781"/>
                  </a:lnTo>
                  <a:lnTo>
                    <a:pt x="748" y="722"/>
                  </a:lnTo>
                  <a:lnTo>
                    <a:pt x="808" y="667"/>
                  </a:lnTo>
                  <a:lnTo>
                    <a:pt x="871" y="616"/>
                  </a:lnTo>
                  <a:lnTo>
                    <a:pt x="937" y="570"/>
                  </a:lnTo>
                  <a:lnTo>
                    <a:pt x="1007" y="528"/>
                  </a:lnTo>
                  <a:lnTo>
                    <a:pt x="1079" y="491"/>
                  </a:lnTo>
                  <a:lnTo>
                    <a:pt x="1155" y="459"/>
                  </a:lnTo>
                  <a:lnTo>
                    <a:pt x="1233" y="432"/>
                  </a:lnTo>
                  <a:lnTo>
                    <a:pt x="1313" y="412"/>
                  </a:lnTo>
                  <a:lnTo>
                    <a:pt x="1396" y="396"/>
                  </a:lnTo>
                  <a:lnTo>
                    <a:pt x="1480" y="387"/>
                  </a:lnTo>
                  <a:lnTo>
                    <a:pt x="1567" y="384"/>
                  </a:lnTo>
                  <a:close/>
                  <a:moveTo>
                    <a:pt x="1530" y="0"/>
                  </a:moveTo>
                  <a:lnTo>
                    <a:pt x="1621" y="1"/>
                  </a:lnTo>
                  <a:lnTo>
                    <a:pt x="1714" y="7"/>
                  </a:lnTo>
                  <a:lnTo>
                    <a:pt x="1804" y="19"/>
                  </a:lnTo>
                  <a:lnTo>
                    <a:pt x="1893" y="36"/>
                  </a:lnTo>
                  <a:lnTo>
                    <a:pt x="1981" y="58"/>
                  </a:lnTo>
                  <a:lnTo>
                    <a:pt x="2068" y="86"/>
                  </a:lnTo>
                  <a:lnTo>
                    <a:pt x="2153" y="118"/>
                  </a:lnTo>
                  <a:lnTo>
                    <a:pt x="2235" y="156"/>
                  </a:lnTo>
                  <a:lnTo>
                    <a:pt x="2316" y="198"/>
                  </a:lnTo>
                  <a:lnTo>
                    <a:pt x="2394" y="245"/>
                  </a:lnTo>
                  <a:lnTo>
                    <a:pt x="2469" y="296"/>
                  </a:lnTo>
                  <a:lnTo>
                    <a:pt x="2541" y="352"/>
                  </a:lnTo>
                  <a:lnTo>
                    <a:pt x="2610" y="414"/>
                  </a:lnTo>
                  <a:lnTo>
                    <a:pt x="2676" y="478"/>
                  </a:lnTo>
                  <a:lnTo>
                    <a:pt x="2688" y="226"/>
                  </a:lnTo>
                  <a:lnTo>
                    <a:pt x="2691" y="207"/>
                  </a:lnTo>
                  <a:lnTo>
                    <a:pt x="2700" y="189"/>
                  </a:lnTo>
                  <a:lnTo>
                    <a:pt x="2712" y="175"/>
                  </a:lnTo>
                  <a:lnTo>
                    <a:pt x="2728" y="164"/>
                  </a:lnTo>
                  <a:lnTo>
                    <a:pt x="2746" y="157"/>
                  </a:lnTo>
                  <a:lnTo>
                    <a:pt x="2766" y="156"/>
                  </a:lnTo>
                  <a:lnTo>
                    <a:pt x="2786" y="159"/>
                  </a:lnTo>
                  <a:lnTo>
                    <a:pt x="2804" y="167"/>
                  </a:lnTo>
                  <a:lnTo>
                    <a:pt x="2818" y="179"/>
                  </a:lnTo>
                  <a:lnTo>
                    <a:pt x="2830" y="196"/>
                  </a:lnTo>
                  <a:lnTo>
                    <a:pt x="2837" y="214"/>
                  </a:lnTo>
                  <a:lnTo>
                    <a:pt x="2838" y="233"/>
                  </a:lnTo>
                  <a:lnTo>
                    <a:pt x="2817" y="678"/>
                  </a:lnTo>
                  <a:lnTo>
                    <a:pt x="2817" y="682"/>
                  </a:lnTo>
                  <a:lnTo>
                    <a:pt x="2814" y="697"/>
                  </a:lnTo>
                  <a:lnTo>
                    <a:pt x="2808" y="710"/>
                  </a:lnTo>
                  <a:lnTo>
                    <a:pt x="2800" y="724"/>
                  </a:lnTo>
                  <a:lnTo>
                    <a:pt x="2787" y="735"/>
                  </a:lnTo>
                  <a:lnTo>
                    <a:pt x="2779" y="740"/>
                  </a:lnTo>
                  <a:lnTo>
                    <a:pt x="2769" y="745"/>
                  </a:lnTo>
                  <a:lnTo>
                    <a:pt x="2769" y="745"/>
                  </a:lnTo>
                  <a:lnTo>
                    <a:pt x="2769" y="745"/>
                  </a:lnTo>
                  <a:lnTo>
                    <a:pt x="2769" y="745"/>
                  </a:lnTo>
                  <a:lnTo>
                    <a:pt x="2769" y="745"/>
                  </a:lnTo>
                  <a:lnTo>
                    <a:pt x="2769" y="745"/>
                  </a:lnTo>
                  <a:lnTo>
                    <a:pt x="2768" y="745"/>
                  </a:lnTo>
                  <a:lnTo>
                    <a:pt x="2768" y="745"/>
                  </a:lnTo>
                  <a:lnTo>
                    <a:pt x="2768" y="745"/>
                  </a:lnTo>
                  <a:lnTo>
                    <a:pt x="2768" y="745"/>
                  </a:lnTo>
                  <a:lnTo>
                    <a:pt x="2751" y="749"/>
                  </a:lnTo>
                  <a:lnTo>
                    <a:pt x="2735" y="750"/>
                  </a:lnTo>
                  <a:lnTo>
                    <a:pt x="2721" y="747"/>
                  </a:lnTo>
                  <a:lnTo>
                    <a:pt x="2706" y="741"/>
                  </a:lnTo>
                  <a:lnTo>
                    <a:pt x="2694" y="733"/>
                  </a:lnTo>
                  <a:lnTo>
                    <a:pt x="2683" y="722"/>
                  </a:lnTo>
                  <a:lnTo>
                    <a:pt x="2681" y="718"/>
                  </a:lnTo>
                  <a:lnTo>
                    <a:pt x="2628" y="651"/>
                  </a:lnTo>
                  <a:lnTo>
                    <a:pt x="2573" y="588"/>
                  </a:lnTo>
                  <a:lnTo>
                    <a:pt x="2513" y="528"/>
                  </a:lnTo>
                  <a:lnTo>
                    <a:pt x="2451" y="473"/>
                  </a:lnTo>
                  <a:lnTo>
                    <a:pt x="2386" y="422"/>
                  </a:lnTo>
                  <a:lnTo>
                    <a:pt x="2318" y="375"/>
                  </a:lnTo>
                  <a:lnTo>
                    <a:pt x="2247" y="332"/>
                  </a:lnTo>
                  <a:lnTo>
                    <a:pt x="2175" y="293"/>
                  </a:lnTo>
                  <a:lnTo>
                    <a:pt x="2100" y="259"/>
                  </a:lnTo>
                  <a:lnTo>
                    <a:pt x="2023" y="229"/>
                  </a:lnTo>
                  <a:lnTo>
                    <a:pt x="1945" y="204"/>
                  </a:lnTo>
                  <a:lnTo>
                    <a:pt x="1864" y="183"/>
                  </a:lnTo>
                  <a:lnTo>
                    <a:pt x="1783" y="168"/>
                  </a:lnTo>
                  <a:lnTo>
                    <a:pt x="1701" y="157"/>
                  </a:lnTo>
                  <a:lnTo>
                    <a:pt x="1618" y="151"/>
                  </a:lnTo>
                  <a:lnTo>
                    <a:pt x="1535" y="150"/>
                  </a:lnTo>
                  <a:lnTo>
                    <a:pt x="1451" y="155"/>
                  </a:lnTo>
                  <a:lnTo>
                    <a:pt x="1367" y="164"/>
                  </a:lnTo>
                  <a:lnTo>
                    <a:pt x="1282" y="178"/>
                  </a:lnTo>
                  <a:lnTo>
                    <a:pt x="1194" y="200"/>
                  </a:lnTo>
                  <a:lnTo>
                    <a:pt x="1107" y="226"/>
                  </a:lnTo>
                  <a:lnTo>
                    <a:pt x="1024" y="259"/>
                  </a:lnTo>
                  <a:lnTo>
                    <a:pt x="943" y="296"/>
                  </a:lnTo>
                  <a:lnTo>
                    <a:pt x="864" y="339"/>
                  </a:lnTo>
                  <a:lnTo>
                    <a:pt x="790" y="386"/>
                  </a:lnTo>
                  <a:lnTo>
                    <a:pt x="718" y="437"/>
                  </a:lnTo>
                  <a:lnTo>
                    <a:pt x="650" y="493"/>
                  </a:lnTo>
                  <a:lnTo>
                    <a:pt x="586" y="554"/>
                  </a:lnTo>
                  <a:lnTo>
                    <a:pt x="526" y="617"/>
                  </a:lnTo>
                  <a:lnTo>
                    <a:pt x="469" y="685"/>
                  </a:lnTo>
                  <a:lnTo>
                    <a:pt x="418" y="756"/>
                  </a:lnTo>
                  <a:lnTo>
                    <a:pt x="371" y="830"/>
                  </a:lnTo>
                  <a:lnTo>
                    <a:pt x="329" y="908"/>
                  </a:lnTo>
                  <a:lnTo>
                    <a:pt x="291" y="989"/>
                  </a:lnTo>
                  <a:lnTo>
                    <a:pt x="259" y="1072"/>
                  </a:lnTo>
                  <a:lnTo>
                    <a:pt x="232" y="1156"/>
                  </a:lnTo>
                  <a:lnTo>
                    <a:pt x="210" y="1244"/>
                  </a:lnTo>
                  <a:lnTo>
                    <a:pt x="195" y="1333"/>
                  </a:lnTo>
                  <a:lnTo>
                    <a:pt x="190" y="1352"/>
                  </a:lnTo>
                  <a:lnTo>
                    <a:pt x="181" y="1367"/>
                  </a:lnTo>
                  <a:lnTo>
                    <a:pt x="169" y="1381"/>
                  </a:lnTo>
                  <a:lnTo>
                    <a:pt x="155" y="1390"/>
                  </a:lnTo>
                  <a:lnTo>
                    <a:pt x="139" y="1396"/>
                  </a:lnTo>
                  <a:lnTo>
                    <a:pt x="120" y="1398"/>
                  </a:lnTo>
                  <a:lnTo>
                    <a:pt x="115" y="1398"/>
                  </a:lnTo>
                  <a:lnTo>
                    <a:pt x="110" y="1398"/>
                  </a:lnTo>
                  <a:lnTo>
                    <a:pt x="90" y="1392"/>
                  </a:lnTo>
                  <a:lnTo>
                    <a:pt x="73" y="1383"/>
                  </a:lnTo>
                  <a:lnTo>
                    <a:pt x="60" y="1368"/>
                  </a:lnTo>
                  <a:lnTo>
                    <a:pt x="50" y="1352"/>
                  </a:lnTo>
                  <a:lnTo>
                    <a:pt x="45" y="1333"/>
                  </a:lnTo>
                  <a:lnTo>
                    <a:pt x="45" y="1313"/>
                  </a:lnTo>
                  <a:lnTo>
                    <a:pt x="62" y="1219"/>
                  </a:lnTo>
                  <a:lnTo>
                    <a:pt x="84" y="1126"/>
                  </a:lnTo>
                  <a:lnTo>
                    <a:pt x="112" y="1036"/>
                  </a:lnTo>
                  <a:lnTo>
                    <a:pt x="145" y="948"/>
                  </a:lnTo>
                  <a:lnTo>
                    <a:pt x="183" y="863"/>
                  </a:lnTo>
                  <a:lnTo>
                    <a:pt x="226" y="780"/>
                  </a:lnTo>
                  <a:lnTo>
                    <a:pt x="274" y="700"/>
                  </a:lnTo>
                  <a:lnTo>
                    <a:pt x="328" y="624"/>
                  </a:lnTo>
                  <a:lnTo>
                    <a:pt x="384" y="552"/>
                  </a:lnTo>
                  <a:lnTo>
                    <a:pt x="446" y="482"/>
                  </a:lnTo>
                  <a:lnTo>
                    <a:pt x="511" y="417"/>
                  </a:lnTo>
                  <a:lnTo>
                    <a:pt x="580" y="355"/>
                  </a:lnTo>
                  <a:lnTo>
                    <a:pt x="653" y="298"/>
                  </a:lnTo>
                  <a:lnTo>
                    <a:pt x="730" y="245"/>
                  </a:lnTo>
                  <a:lnTo>
                    <a:pt x="810" y="197"/>
                  </a:lnTo>
                  <a:lnTo>
                    <a:pt x="892" y="154"/>
                  </a:lnTo>
                  <a:lnTo>
                    <a:pt x="978" y="115"/>
                  </a:lnTo>
                  <a:lnTo>
                    <a:pt x="1067" y="82"/>
                  </a:lnTo>
                  <a:lnTo>
                    <a:pt x="1158" y="53"/>
                  </a:lnTo>
                  <a:lnTo>
                    <a:pt x="1252" y="31"/>
                  </a:lnTo>
                  <a:lnTo>
                    <a:pt x="1345" y="16"/>
                  </a:lnTo>
                  <a:lnTo>
                    <a:pt x="1437" y="4"/>
                  </a:lnTo>
                  <a:lnTo>
                    <a:pt x="153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9" name="Subtitle 2"/>
          <p:cNvSpPr txBox="1">
            <a:spLocks/>
          </p:cNvSpPr>
          <p:nvPr/>
        </p:nvSpPr>
        <p:spPr>
          <a:xfrm>
            <a:off x="7795799" y="1135731"/>
            <a:ext cx="4034933" cy="5127628"/>
          </a:xfrm>
          <a:prstGeom prst="rect">
            <a:avLst/>
          </a:prstGeom>
          <a:ln>
            <a:no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q"/>
            </a:pPr>
            <a:r>
              <a:rPr lang="en-US" sz="1600" b="1" dirty="0">
                <a:latin typeface="Trebuchet MS" panose="020B0603020202020204" pitchFamily="34" charset="0"/>
              </a:rPr>
              <a:t>SAFE MANUFACTURING </a:t>
            </a:r>
          </a:p>
          <a:p>
            <a:pPr>
              <a:buFont typeface="Wingdings" panose="05000000000000000000" pitchFamily="2" charset="2"/>
              <a:buChar char="q"/>
            </a:pPr>
            <a:endParaRPr lang="en-US" sz="1600" b="1" dirty="0">
              <a:latin typeface="Trebuchet MS" panose="020B0603020202020204" pitchFamily="34" charset="0"/>
            </a:endParaRPr>
          </a:p>
          <a:p>
            <a:pPr>
              <a:buFont typeface="Wingdings" panose="05000000000000000000" pitchFamily="2" charset="2"/>
              <a:buChar char="q"/>
            </a:pPr>
            <a:r>
              <a:rPr lang="en-US" sz="1600" b="1" dirty="0">
                <a:latin typeface="Trebuchet MS" panose="020B0603020202020204" pitchFamily="34" charset="0"/>
              </a:rPr>
              <a:t>ENVIRONMENTSNO CHILD LABOR,</a:t>
            </a:r>
          </a:p>
          <a:p>
            <a:pPr>
              <a:buFont typeface="Wingdings" panose="05000000000000000000" pitchFamily="2" charset="2"/>
              <a:buChar char="q"/>
            </a:pPr>
            <a:endParaRPr lang="en-US" sz="1600" b="1" dirty="0">
              <a:latin typeface="Trebuchet MS" panose="020B0603020202020204" pitchFamily="34" charset="0"/>
            </a:endParaRPr>
          </a:p>
          <a:p>
            <a:pPr>
              <a:buFont typeface="Wingdings" panose="05000000000000000000" pitchFamily="2" charset="2"/>
              <a:buChar char="q"/>
            </a:pPr>
            <a:r>
              <a:rPr lang="en-US" sz="1600" b="1" dirty="0">
                <a:latin typeface="Trebuchet MS" panose="020B0603020202020204" pitchFamily="34" charset="0"/>
              </a:rPr>
              <a:t>FAIR TRADE STANDARDS UPHELD,</a:t>
            </a:r>
          </a:p>
          <a:p>
            <a:pPr>
              <a:buFont typeface="Wingdings" panose="05000000000000000000" pitchFamily="2" charset="2"/>
              <a:buChar char="q"/>
            </a:pPr>
            <a:endParaRPr lang="en-US" sz="1600" b="1" dirty="0">
              <a:latin typeface="Trebuchet MS" panose="020B0603020202020204" pitchFamily="34" charset="0"/>
            </a:endParaRPr>
          </a:p>
          <a:p>
            <a:pPr>
              <a:buFont typeface="Wingdings" panose="05000000000000000000" pitchFamily="2" charset="2"/>
              <a:buChar char="q"/>
            </a:pPr>
            <a:r>
              <a:rPr lang="en-US" sz="1600" b="1" dirty="0">
                <a:latin typeface="Trebuchet MS" panose="020B0603020202020204" pitchFamily="34" charset="0"/>
              </a:rPr>
              <a:t>ACTIVE REDUCTION OF ENVIRONMENTAL IMPACT</a:t>
            </a:r>
          </a:p>
          <a:p>
            <a:pPr>
              <a:buFont typeface="Wingdings" panose="05000000000000000000" pitchFamily="2" charset="2"/>
              <a:buChar char="q"/>
            </a:pPr>
            <a:endParaRPr lang="en-US" sz="1600" b="1" dirty="0">
              <a:latin typeface="Trebuchet MS" panose="020B0603020202020204" pitchFamily="34" charset="0"/>
            </a:endParaRPr>
          </a:p>
          <a:p>
            <a:pPr>
              <a:buFont typeface="Wingdings" panose="05000000000000000000" pitchFamily="2" charset="2"/>
              <a:buChar char="q"/>
            </a:pPr>
            <a:r>
              <a:rPr lang="en-US" sz="1600" b="1" dirty="0">
                <a:latin typeface="Trebuchet MS" panose="020B0603020202020204" pitchFamily="34" charset="0"/>
              </a:rPr>
              <a:t>COMPLIANCE WITH ALL RELEVANT REGULATORY ORDINANCES</a:t>
            </a:r>
            <a:endParaRPr kumimoji="0" lang="en-US" sz="160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ndParaRPr>
          </a:p>
        </p:txBody>
      </p:sp>
    </p:spTree>
    <p:extLst>
      <p:ext uri="{BB962C8B-B14F-4D97-AF65-F5344CB8AC3E}">
        <p14:creationId xmlns:p14="http://schemas.microsoft.com/office/powerpoint/2010/main" val="374920214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p:cTn id="7" dur="500" fill="hold"/>
                                        <p:tgtEl>
                                          <p:spTgt spid="55"/>
                                        </p:tgtEl>
                                        <p:attrNameLst>
                                          <p:attrName>ppt_w</p:attrName>
                                        </p:attrNameLst>
                                      </p:cBhvr>
                                      <p:tavLst>
                                        <p:tav tm="0">
                                          <p:val>
                                            <p:fltVal val="0"/>
                                          </p:val>
                                        </p:tav>
                                        <p:tav tm="100000">
                                          <p:val>
                                            <p:strVal val="#ppt_w"/>
                                          </p:val>
                                        </p:tav>
                                      </p:tavLst>
                                    </p:anim>
                                    <p:anim calcmode="lin" valueType="num">
                                      <p:cBhvr>
                                        <p:cTn id="8" dur="500" fill="hold"/>
                                        <p:tgtEl>
                                          <p:spTgt spid="55"/>
                                        </p:tgtEl>
                                        <p:attrNameLst>
                                          <p:attrName>ppt_h</p:attrName>
                                        </p:attrNameLst>
                                      </p:cBhvr>
                                      <p:tavLst>
                                        <p:tav tm="0">
                                          <p:val>
                                            <p:fltVal val="0"/>
                                          </p:val>
                                        </p:tav>
                                        <p:tav tm="100000">
                                          <p:val>
                                            <p:strVal val="#ppt_h"/>
                                          </p:val>
                                        </p:tav>
                                      </p:tavLst>
                                    </p:anim>
                                    <p:animEffect transition="in" filter="fade">
                                      <p:cBhvr>
                                        <p:cTn id="9" dur="500"/>
                                        <p:tgtEl>
                                          <p:spTgt spid="55"/>
                                        </p:tgtEl>
                                      </p:cBhvr>
                                    </p:animEffect>
                                  </p:childTnLst>
                                </p:cTn>
                              </p:par>
                              <p:par>
                                <p:cTn id="10" presetID="53" presetClass="entr" presetSubtype="16" fill="hold" nodeType="withEffect">
                                  <p:stCondLst>
                                    <p:cond delay="100"/>
                                  </p:stCondLst>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w</p:attrName>
                                        </p:attrNameLst>
                                      </p:cBhvr>
                                      <p:tavLst>
                                        <p:tav tm="0">
                                          <p:val>
                                            <p:fltVal val="0"/>
                                          </p:val>
                                        </p:tav>
                                        <p:tav tm="100000">
                                          <p:val>
                                            <p:strVal val="#ppt_w"/>
                                          </p:val>
                                        </p:tav>
                                      </p:tavLst>
                                    </p:anim>
                                    <p:anim calcmode="lin" valueType="num">
                                      <p:cBhvr>
                                        <p:cTn id="13" dur="500" fill="hold"/>
                                        <p:tgtEl>
                                          <p:spTgt spid="58"/>
                                        </p:tgtEl>
                                        <p:attrNameLst>
                                          <p:attrName>ppt_h</p:attrName>
                                        </p:attrNameLst>
                                      </p:cBhvr>
                                      <p:tavLst>
                                        <p:tav tm="0">
                                          <p:val>
                                            <p:fltVal val="0"/>
                                          </p:val>
                                        </p:tav>
                                        <p:tav tm="100000">
                                          <p:val>
                                            <p:strVal val="#ppt_h"/>
                                          </p:val>
                                        </p:tav>
                                      </p:tavLst>
                                    </p:anim>
                                    <p:animEffect transition="in" filter="fade">
                                      <p:cBhvr>
                                        <p:cTn id="14" dur="500"/>
                                        <p:tgtEl>
                                          <p:spTgt spid="58"/>
                                        </p:tgtEl>
                                      </p:cBhvr>
                                    </p:animEffect>
                                  </p:childTnLst>
                                </p:cTn>
                              </p:par>
                              <p:par>
                                <p:cTn id="15" presetID="53" presetClass="entr" presetSubtype="16" fill="hold" nodeType="withEffect">
                                  <p:stCondLst>
                                    <p:cond delay="200"/>
                                  </p:stCondLst>
                                  <p:childTnLst>
                                    <p:set>
                                      <p:cBhvr>
                                        <p:cTn id="16" dur="1" fill="hold">
                                          <p:stCondLst>
                                            <p:cond delay="0"/>
                                          </p:stCondLst>
                                        </p:cTn>
                                        <p:tgtEl>
                                          <p:spTgt spid="56"/>
                                        </p:tgtEl>
                                        <p:attrNameLst>
                                          <p:attrName>style.visibility</p:attrName>
                                        </p:attrNameLst>
                                      </p:cBhvr>
                                      <p:to>
                                        <p:strVal val="visible"/>
                                      </p:to>
                                    </p:set>
                                    <p:anim calcmode="lin" valueType="num">
                                      <p:cBhvr>
                                        <p:cTn id="17" dur="500" fill="hold"/>
                                        <p:tgtEl>
                                          <p:spTgt spid="56"/>
                                        </p:tgtEl>
                                        <p:attrNameLst>
                                          <p:attrName>ppt_w</p:attrName>
                                        </p:attrNameLst>
                                      </p:cBhvr>
                                      <p:tavLst>
                                        <p:tav tm="0">
                                          <p:val>
                                            <p:fltVal val="0"/>
                                          </p:val>
                                        </p:tav>
                                        <p:tav tm="100000">
                                          <p:val>
                                            <p:strVal val="#ppt_w"/>
                                          </p:val>
                                        </p:tav>
                                      </p:tavLst>
                                    </p:anim>
                                    <p:anim calcmode="lin" valueType="num">
                                      <p:cBhvr>
                                        <p:cTn id="18" dur="500" fill="hold"/>
                                        <p:tgtEl>
                                          <p:spTgt spid="56"/>
                                        </p:tgtEl>
                                        <p:attrNameLst>
                                          <p:attrName>ppt_h</p:attrName>
                                        </p:attrNameLst>
                                      </p:cBhvr>
                                      <p:tavLst>
                                        <p:tav tm="0">
                                          <p:val>
                                            <p:fltVal val="0"/>
                                          </p:val>
                                        </p:tav>
                                        <p:tav tm="100000">
                                          <p:val>
                                            <p:strVal val="#ppt_h"/>
                                          </p:val>
                                        </p:tav>
                                      </p:tavLst>
                                    </p:anim>
                                    <p:animEffect transition="in" filter="fade">
                                      <p:cBhvr>
                                        <p:cTn id="19" dur="500"/>
                                        <p:tgtEl>
                                          <p:spTgt spid="56"/>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9"/>
                                        </p:tgtEl>
                                        <p:attrNameLst>
                                          <p:attrName>style.visibility</p:attrName>
                                        </p:attrNameLst>
                                      </p:cBhvr>
                                      <p:to>
                                        <p:strVal val="visible"/>
                                      </p:to>
                                    </p:set>
                                    <p:animEffect transition="in" filter="fade">
                                      <p:cBhvr>
                                        <p:cTn id="25"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6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252961" y="743860"/>
            <a:ext cx="5551716" cy="646331"/>
          </a:xfrm>
          <a:prstGeom prst="rect">
            <a:avLst/>
          </a:prstGeom>
          <a:ln/>
        </p:spPr>
        <p:style>
          <a:lnRef idx="3">
            <a:schemeClr val="lt1"/>
          </a:lnRef>
          <a:fillRef idx="1">
            <a:schemeClr val="accent1"/>
          </a:fillRef>
          <a:effectRef idx="1">
            <a:schemeClr val="accent1"/>
          </a:effectRef>
          <a:fontRef idx="minor">
            <a:schemeClr val="lt1"/>
          </a:fontRef>
        </p:style>
        <p:txBody>
          <a:bodyPr wrap="square" rtlCol="0">
            <a:spAutoFit/>
          </a:bodyPr>
          <a:lstStyle/>
          <a:p>
            <a:pPr algn="ctr" defTabSz="457200" latinLnBrk="0">
              <a:spcBef>
                <a:spcPct val="0"/>
              </a:spcBef>
            </a:pPr>
            <a:r>
              <a:rPr lang="en-US" sz="3600" b="1" i="1" dirty="0">
                <a:ln w="17780" cmpd="sng">
                  <a:solidFill>
                    <a:srgbClr val="000066"/>
                  </a:solidFill>
                  <a:prstDash val="solid"/>
                  <a:miter lim="800000"/>
                </a:ln>
                <a:solidFill>
                  <a:srgbClr val="3366FF"/>
                </a:solidFill>
                <a:effectLst>
                  <a:outerShdw blurRad="50800" algn="tl" rotWithShape="0">
                    <a:srgbClr val="000000"/>
                  </a:outerShdw>
                  <a:reflection blurRad="6350" stA="55000" endA="300" endPos="45500" dir="5400000" sy="-100000" algn="bl" rotWithShape="0"/>
                </a:effectLst>
                <a:latin typeface="Trebuchet MS"/>
                <a:cs typeface="Trebuchet MS"/>
              </a:rPr>
              <a:t>Our Major Customers   </a:t>
            </a:r>
          </a:p>
        </p:txBody>
      </p:sp>
      <p:sp>
        <p:nvSpPr>
          <p:cNvPr id="7" name="Rectangle 6"/>
          <p:cNvSpPr/>
          <p:nvPr/>
        </p:nvSpPr>
        <p:spPr>
          <a:xfrm>
            <a:off x="7746800" y="4082142"/>
            <a:ext cx="2517922" cy="685800"/>
          </a:xfrm>
          <a:prstGeom prst="rect">
            <a:avLst/>
          </a:prstGeom>
          <a:ln>
            <a:solidFill>
              <a:srgbClr val="00006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latinLnBrk="0"/>
            <a:r>
              <a:rPr lang="en-US" sz="1500" dirty="0" smtClean="0">
                <a:solidFill>
                  <a:prstClr val="white"/>
                </a:solidFill>
                <a:latin typeface="Verdana" pitchFamily="34" charset="0"/>
                <a:ea typeface="Verdana" pitchFamily="34" charset="0"/>
                <a:cs typeface="Verdana" pitchFamily="34" charset="0"/>
              </a:rPr>
              <a:t>CARRY </a:t>
            </a:r>
            <a:r>
              <a:rPr lang="en-US" sz="1500" dirty="0">
                <a:solidFill>
                  <a:prstClr val="white"/>
                </a:solidFill>
                <a:latin typeface="Verdana" pitchFamily="34" charset="0"/>
                <a:ea typeface="Verdana" pitchFamily="34" charset="0"/>
                <a:cs typeface="Verdana" pitchFamily="34" charset="0"/>
              </a:rPr>
              <a:t>- </a:t>
            </a:r>
            <a:r>
              <a:rPr lang="en-US" sz="1500" dirty="0" smtClean="0">
                <a:solidFill>
                  <a:prstClr val="white"/>
                </a:solidFill>
                <a:latin typeface="Verdana" pitchFamily="34" charset="0"/>
                <a:ea typeface="Verdana" pitchFamily="34" charset="0"/>
                <a:cs typeface="Verdana" pitchFamily="34" charset="0"/>
              </a:rPr>
              <a:t>POLAND</a:t>
            </a:r>
            <a:endParaRPr lang="en-US" sz="1500" dirty="0">
              <a:solidFill>
                <a:prstClr val="white"/>
              </a:solidFill>
              <a:latin typeface="Verdana" pitchFamily="34" charset="0"/>
              <a:ea typeface="Verdana" pitchFamily="34" charset="0"/>
              <a:cs typeface="Verdana" pitchFamily="34" charset="0"/>
            </a:endParaRPr>
          </a:p>
        </p:txBody>
      </p:sp>
      <p:sp>
        <p:nvSpPr>
          <p:cNvPr id="8" name="Rectangle 7"/>
          <p:cNvSpPr/>
          <p:nvPr/>
        </p:nvSpPr>
        <p:spPr>
          <a:xfrm>
            <a:off x="4876800" y="5867400"/>
            <a:ext cx="2517922" cy="685800"/>
          </a:xfrm>
          <a:prstGeom prst="rect">
            <a:avLst/>
          </a:prstGeom>
          <a:ln>
            <a:solidFill>
              <a:srgbClr val="00006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latinLnBrk="0"/>
            <a:r>
              <a:rPr lang="en-US" sz="1500" dirty="0" smtClean="0">
                <a:solidFill>
                  <a:prstClr val="white"/>
                </a:solidFill>
                <a:latin typeface="Verdana" pitchFamily="34" charset="0"/>
                <a:ea typeface="Verdana" pitchFamily="34" charset="0"/>
                <a:cs typeface="Verdana" pitchFamily="34" charset="0"/>
              </a:rPr>
              <a:t>INCITY-RUSSIA</a:t>
            </a:r>
          </a:p>
          <a:p>
            <a:pPr algn="ctr" defTabSz="457200" latinLnBrk="0"/>
            <a:r>
              <a:rPr lang="en-US" sz="1500" dirty="0" smtClean="0">
                <a:solidFill>
                  <a:prstClr val="white"/>
                </a:solidFill>
                <a:latin typeface="Verdana" pitchFamily="34" charset="0"/>
                <a:ea typeface="Verdana" pitchFamily="34" charset="0"/>
                <a:cs typeface="Verdana" pitchFamily="34" charset="0"/>
              </a:rPr>
              <a:t>2 MOOD-RUSSIA</a:t>
            </a:r>
            <a:endParaRPr lang="en-US" sz="1500" dirty="0">
              <a:solidFill>
                <a:prstClr val="white"/>
              </a:solidFill>
              <a:latin typeface="Verdana" pitchFamily="34" charset="0"/>
              <a:ea typeface="Verdana" pitchFamily="34" charset="0"/>
              <a:cs typeface="Verdana" pitchFamily="34" charset="0"/>
            </a:endParaRPr>
          </a:p>
        </p:txBody>
      </p:sp>
      <p:sp>
        <p:nvSpPr>
          <p:cNvPr id="10" name="Rectangle 9"/>
          <p:cNvSpPr/>
          <p:nvPr/>
        </p:nvSpPr>
        <p:spPr>
          <a:xfrm>
            <a:off x="4851200" y="2210650"/>
            <a:ext cx="2543522" cy="685800"/>
          </a:xfrm>
          <a:prstGeom prst="rect">
            <a:avLst/>
          </a:prstGeom>
          <a:ln>
            <a:solidFill>
              <a:srgbClr val="00006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latinLnBrk="0"/>
            <a:r>
              <a:rPr lang="en-US" sz="1500" dirty="0" smtClean="0">
                <a:solidFill>
                  <a:prstClr val="white"/>
                </a:solidFill>
                <a:latin typeface="Verdana" pitchFamily="34" charset="0"/>
                <a:ea typeface="Verdana" pitchFamily="34" charset="0"/>
                <a:cs typeface="Verdana" pitchFamily="34" charset="0"/>
              </a:rPr>
              <a:t>AMERICAN COLLEGE- FRANCE</a:t>
            </a:r>
          </a:p>
          <a:p>
            <a:pPr algn="ctr" defTabSz="457200" latinLnBrk="0"/>
            <a:r>
              <a:rPr lang="en-US" sz="1500" dirty="0" smtClean="0">
                <a:solidFill>
                  <a:prstClr val="white"/>
                </a:solidFill>
                <a:latin typeface="Verdana" pitchFamily="34" charset="0"/>
                <a:ea typeface="Verdana" pitchFamily="34" charset="0"/>
                <a:cs typeface="Verdana" pitchFamily="34" charset="0"/>
              </a:rPr>
              <a:t>STOKOMANI-FRANCE</a:t>
            </a:r>
            <a:endParaRPr lang="en-US" sz="1500" dirty="0">
              <a:solidFill>
                <a:prstClr val="white"/>
              </a:solidFill>
              <a:latin typeface="Verdana" pitchFamily="34" charset="0"/>
              <a:ea typeface="Verdana" pitchFamily="34" charset="0"/>
              <a:cs typeface="Verdana" pitchFamily="34" charset="0"/>
            </a:endParaRPr>
          </a:p>
        </p:txBody>
      </p:sp>
      <p:sp>
        <p:nvSpPr>
          <p:cNvPr id="12" name="Rectangle 11"/>
          <p:cNvSpPr/>
          <p:nvPr/>
        </p:nvSpPr>
        <p:spPr>
          <a:xfrm>
            <a:off x="1928064" y="4110521"/>
            <a:ext cx="2514600" cy="685800"/>
          </a:xfrm>
          <a:prstGeom prst="rect">
            <a:avLst/>
          </a:prstGeom>
          <a:ln>
            <a:solidFill>
              <a:srgbClr val="00006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latinLnBrk="0"/>
            <a:r>
              <a:rPr lang="en-US" sz="1500" dirty="0" smtClean="0">
                <a:solidFill>
                  <a:prstClr val="white"/>
                </a:solidFill>
                <a:latin typeface="Verdana" pitchFamily="34" charset="0"/>
                <a:ea typeface="Verdana" pitchFamily="34" charset="0"/>
                <a:cs typeface="Verdana" pitchFamily="34" charset="0"/>
              </a:rPr>
              <a:t>RENUAR- ISRAIL</a:t>
            </a:r>
            <a:endParaRPr lang="en-US" sz="1500" dirty="0">
              <a:solidFill>
                <a:prstClr val="white"/>
              </a:solidFill>
              <a:latin typeface="Verdana" pitchFamily="34" charset="0"/>
              <a:ea typeface="Verdana" pitchFamily="34" charset="0"/>
              <a:cs typeface="Verdana" pitchFamily="34" charset="0"/>
            </a:endParaRPr>
          </a:p>
        </p:txBody>
      </p:sp>
      <p:pic>
        <p:nvPicPr>
          <p:cNvPr id="18" name="Picture 17" descr="is.jpe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76800" y="3525670"/>
            <a:ext cx="2517922" cy="1855502"/>
          </a:xfrm>
          <a:prstGeom prst="rect">
            <a:avLst/>
          </a:prstGeom>
        </p:spPr>
      </p:pic>
      <p:sp>
        <p:nvSpPr>
          <p:cNvPr id="9" name="Rectangle 8"/>
          <p:cNvSpPr/>
          <p:nvPr/>
        </p:nvSpPr>
        <p:spPr>
          <a:xfrm>
            <a:off x="7746800" y="4796321"/>
            <a:ext cx="2513304" cy="685800"/>
          </a:xfrm>
          <a:prstGeom prst="rect">
            <a:avLst/>
          </a:prstGeom>
          <a:ln>
            <a:solidFill>
              <a:srgbClr val="00006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latinLnBrk="0"/>
            <a:r>
              <a:rPr lang="en-US" sz="1500" dirty="0" smtClean="0">
                <a:solidFill>
                  <a:prstClr val="white"/>
                </a:solidFill>
                <a:latin typeface="Verdana" pitchFamily="34" charset="0"/>
                <a:ea typeface="Verdana" pitchFamily="34" charset="0"/>
                <a:cs typeface="Verdana" pitchFamily="34" charset="0"/>
              </a:rPr>
              <a:t>VIACORSA </a:t>
            </a:r>
            <a:r>
              <a:rPr lang="en-US" sz="1500" dirty="0">
                <a:solidFill>
                  <a:prstClr val="white"/>
                </a:solidFill>
                <a:latin typeface="Verdana" pitchFamily="34" charset="0"/>
                <a:ea typeface="Verdana" pitchFamily="34" charset="0"/>
                <a:cs typeface="Verdana" pitchFamily="34" charset="0"/>
              </a:rPr>
              <a:t>- </a:t>
            </a:r>
            <a:r>
              <a:rPr lang="en-US" sz="1500" dirty="0" smtClean="0">
                <a:solidFill>
                  <a:prstClr val="white"/>
                </a:solidFill>
                <a:latin typeface="Verdana" pitchFamily="34" charset="0"/>
                <a:ea typeface="Verdana" pitchFamily="34" charset="0"/>
                <a:cs typeface="Verdana" pitchFamily="34" charset="0"/>
              </a:rPr>
              <a:t>SPAIN</a:t>
            </a:r>
            <a:endParaRPr lang="en-US" sz="1500" dirty="0">
              <a:solidFill>
                <a:prstClr val="white"/>
              </a:solidFill>
              <a:latin typeface="Verdana" pitchFamily="34" charset="0"/>
              <a:ea typeface="Verdana" pitchFamily="34" charset="0"/>
              <a:cs typeface="Verdana" pitchFamily="34" charset="0"/>
            </a:endParaRPr>
          </a:p>
        </p:txBody>
      </p:sp>
      <p:sp>
        <p:nvSpPr>
          <p:cNvPr id="11" name="Rectangle 10"/>
          <p:cNvSpPr/>
          <p:nvPr/>
        </p:nvSpPr>
        <p:spPr>
          <a:xfrm>
            <a:off x="1928064" y="3396342"/>
            <a:ext cx="2514600" cy="685800"/>
          </a:xfrm>
          <a:prstGeom prst="rect">
            <a:avLst/>
          </a:prstGeom>
          <a:ln>
            <a:solidFill>
              <a:srgbClr val="00006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latinLnBrk="0"/>
            <a:r>
              <a:rPr lang="en-US" sz="1500" dirty="0" smtClean="0">
                <a:solidFill>
                  <a:prstClr val="white"/>
                </a:solidFill>
                <a:latin typeface="Verdana" pitchFamily="34" charset="0"/>
                <a:ea typeface="Verdana" pitchFamily="34" charset="0"/>
                <a:cs typeface="Verdana" pitchFamily="34" charset="0"/>
              </a:rPr>
              <a:t>FINN FLARE- RUSSIA</a:t>
            </a:r>
            <a:endParaRPr lang="en-US" sz="15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205490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5" presetClass="entr" presetSubtype="1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checkerboard(across)">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dissolve">
                                      <p:cBhvr>
                                        <p:cTn id="20" dur="5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2" grpId="0" animBg="1"/>
      <p:bldP spid="9" grpId="0" animBg="1"/>
      <p:bldP spid="1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3343848" y="6453336"/>
            <a:ext cx="3860800" cy="220641"/>
          </a:xfrm>
        </p:spPr>
        <p:txBody>
          <a:bodyPr/>
          <a:lstStyle/>
          <a:p>
            <a:r>
              <a:rPr lang="en-US" altLang="ko-KR" dirty="0"/>
              <a:t>Apparel Mart-BD</a:t>
            </a:r>
            <a:endParaRPr lang="ko-KR" altLang="en-US" dirty="0"/>
          </a:p>
        </p:txBody>
      </p:sp>
      <p:sp>
        <p:nvSpPr>
          <p:cNvPr id="4" name="Title 3"/>
          <p:cNvSpPr>
            <a:spLocks noGrp="1"/>
          </p:cNvSpPr>
          <p:nvPr>
            <p:ph type="title"/>
          </p:nvPr>
        </p:nvSpPr>
        <p:spPr/>
        <p:txBody>
          <a:bodyPr/>
          <a:lstStyle/>
          <a:p>
            <a:r>
              <a:rPr lang="en-US" sz="3200" dirty="0">
                <a:latin typeface="Trebuchet MS" panose="020B0603020202020204" pitchFamily="34" charset="0"/>
              </a:rPr>
              <a:t>Product Display Room </a:t>
            </a:r>
            <a:r>
              <a:rPr lang="en-US" dirty="0">
                <a:latin typeface="Trebuchet MS" panose="020B0603020202020204" pitchFamily="34" charset="0"/>
              </a:rPr>
              <a:t>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1916" y="2852937"/>
            <a:ext cx="5910748" cy="3821040"/>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028" y="980728"/>
            <a:ext cx="5959424" cy="38884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603265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altLang="ko-KR" dirty="0"/>
              <a:t>Apparel Mart-BD</a:t>
            </a:r>
            <a:endParaRPr lang="ko-KR" altLang="en-US" dirty="0"/>
          </a:p>
        </p:txBody>
      </p:sp>
      <p:sp>
        <p:nvSpPr>
          <p:cNvPr id="4" name="Title 3"/>
          <p:cNvSpPr>
            <a:spLocks noGrp="1"/>
          </p:cNvSpPr>
          <p:nvPr>
            <p:ph type="title"/>
          </p:nvPr>
        </p:nvSpPr>
        <p:spPr/>
        <p:txBody>
          <a:bodyPr>
            <a:normAutofit/>
          </a:bodyPr>
          <a:lstStyle/>
          <a:p>
            <a:r>
              <a:rPr lang="en-US" sz="3200" dirty="0">
                <a:latin typeface="Trebuchet MS" panose="020B0603020202020204" pitchFamily="34" charset="0"/>
              </a:rPr>
              <a:t>Product Display  - Circular Knit </a:t>
            </a:r>
          </a:p>
        </p:txBody>
      </p:sp>
      <p:pic>
        <p:nvPicPr>
          <p:cNvPr id="5" name="Picture 4">
            <a:extLst>
              <a:ext uri="{FF2B5EF4-FFF2-40B4-BE49-F238E27FC236}">
                <a16:creationId xmlns:a16="http://schemas.microsoft.com/office/drawing/2014/main" id="{DA9EE1C6-C35B-4627-842C-AC49F715E68A}"/>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57397" y="908720"/>
            <a:ext cx="6110611" cy="3312368"/>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6C1619B3-015F-411C-BADB-369E93668B77}"/>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28000"/>
                    </a14:imgEffect>
                  </a14:imgLayer>
                </a14:imgProps>
              </a:ext>
              <a:ext uri="{28A0092B-C50C-407E-A947-70E740481C1C}">
                <a14:useLocalDpi xmlns:a14="http://schemas.microsoft.com/office/drawing/2010/main" val="0"/>
              </a:ext>
            </a:extLst>
          </a:blip>
          <a:stretch>
            <a:fillRect/>
          </a:stretch>
        </p:blipFill>
        <p:spPr>
          <a:xfrm>
            <a:off x="6168008" y="3384380"/>
            <a:ext cx="5901680" cy="311645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346717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altLang="ko-KR" dirty="0"/>
              <a:t>Apparel Mart-BD</a:t>
            </a:r>
            <a:endParaRPr lang="ko-KR" altLang="en-US" dirty="0"/>
          </a:p>
        </p:txBody>
      </p:sp>
      <p:sp>
        <p:nvSpPr>
          <p:cNvPr id="4" name="Title 3"/>
          <p:cNvSpPr>
            <a:spLocks noGrp="1"/>
          </p:cNvSpPr>
          <p:nvPr>
            <p:ph type="title"/>
          </p:nvPr>
        </p:nvSpPr>
        <p:spPr/>
        <p:txBody>
          <a:bodyPr>
            <a:normAutofit/>
          </a:bodyPr>
          <a:lstStyle/>
          <a:p>
            <a:r>
              <a:rPr lang="en-US" sz="3200" dirty="0">
                <a:latin typeface="Trebuchet MS" panose="020B0603020202020204" pitchFamily="34" charset="0"/>
              </a:rPr>
              <a:t>Product Display  </a:t>
            </a:r>
          </a:p>
        </p:txBody>
      </p:sp>
      <p:grpSp>
        <p:nvGrpSpPr>
          <p:cNvPr id="5" name="Group 4">
            <a:extLst>
              <a:ext uri="{FF2B5EF4-FFF2-40B4-BE49-F238E27FC236}">
                <a16:creationId xmlns:a16="http://schemas.microsoft.com/office/drawing/2014/main" id="{A326844A-FB45-4FBC-8585-4D7F06438FE5}"/>
              </a:ext>
            </a:extLst>
          </p:cNvPr>
          <p:cNvGrpSpPr/>
          <p:nvPr/>
        </p:nvGrpSpPr>
        <p:grpSpPr>
          <a:xfrm>
            <a:off x="1791420" y="1600201"/>
            <a:ext cx="8876579" cy="3657600"/>
            <a:chOff x="592348" y="3919747"/>
            <a:chExt cx="8205877" cy="1897811"/>
          </a:xfrm>
        </p:grpSpPr>
        <p:pic>
          <p:nvPicPr>
            <p:cNvPr id="6" name="Picture 2" descr="C:\Users\RIPON\Desktop\FOR BUYER\New folder\SHOWROOM (13).jpg">
              <a:extLst>
                <a:ext uri="{FF2B5EF4-FFF2-40B4-BE49-F238E27FC236}">
                  <a16:creationId xmlns:a16="http://schemas.microsoft.com/office/drawing/2014/main" id="{0F35AA24-362E-4FE4-8EEB-58A6B8462517}"/>
                </a:ext>
              </a:extLst>
            </p:cNvPr>
            <p:cNvPicPr>
              <a:picLocks noChangeAspect="1" noChangeArrowheads="1"/>
            </p:cNvPicPr>
            <p:nvPr/>
          </p:nvPicPr>
          <p:blipFill>
            <a:blip r:embed="rId2" cstate="print"/>
            <a:srcRect/>
            <a:stretch>
              <a:fillRect/>
            </a:stretch>
          </p:blipFill>
          <p:spPr bwMode="auto">
            <a:xfrm>
              <a:off x="7769525" y="3962879"/>
              <a:ext cx="1028700" cy="1828800"/>
            </a:xfrm>
            <a:prstGeom prst="rect">
              <a:avLst/>
            </a:prstGeom>
            <a:noFill/>
          </p:spPr>
        </p:pic>
        <p:pic>
          <p:nvPicPr>
            <p:cNvPr id="7" name="Picture 3" descr="C:\Users\RIPON\Desktop\FOR BUYER\New folder\SHOWROOM (1).jpg">
              <a:extLst>
                <a:ext uri="{FF2B5EF4-FFF2-40B4-BE49-F238E27FC236}">
                  <a16:creationId xmlns:a16="http://schemas.microsoft.com/office/drawing/2014/main" id="{3B37A683-7052-4154-B489-806EC1FD5D8B}"/>
                </a:ext>
              </a:extLst>
            </p:cNvPr>
            <p:cNvPicPr>
              <a:picLocks noChangeAspect="1" noChangeArrowheads="1"/>
            </p:cNvPicPr>
            <p:nvPr/>
          </p:nvPicPr>
          <p:blipFill>
            <a:blip r:embed="rId3" cstate="print"/>
            <a:srcRect/>
            <a:stretch>
              <a:fillRect/>
            </a:stretch>
          </p:blipFill>
          <p:spPr bwMode="auto">
            <a:xfrm>
              <a:off x="6553200" y="3988758"/>
              <a:ext cx="1028700" cy="1828800"/>
            </a:xfrm>
            <a:prstGeom prst="rect">
              <a:avLst/>
            </a:prstGeom>
            <a:noFill/>
          </p:spPr>
        </p:pic>
        <p:pic>
          <p:nvPicPr>
            <p:cNvPr id="8" name="Picture 7" descr="C:\Users\RIPON\Desktop\FOR BUYER\New folder\SHOWROOM (5).jpg">
              <a:extLst>
                <a:ext uri="{FF2B5EF4-FFF2-40B4-BE49-F238E27FC236}">
                  <a16:creationId xmlns:a16="http://schemas.microsoft.com/office/drawing/2014/main" id="{5D6B96DA-E7AE-41B0-810E-F08C9FD4A0D4}"/>
                </a:ext>
              </a:extLst>
            </p:cNvPr>
            <p:cNvPicPr>
              <a:picLocks noChangeAspect="1" noChangeArrowheads="1"/>
            </p:cNvPicPr>
            <p:nvPr/>
          </p:nvPicPr>
          <p:blipFill>
            <a:blip r:embed="rId4" cstate="print"/>
            <a:srcRect/>
            <a:stretch>
              <a:fillRect/>
            </a:stretch>
          </p:blipFill>
          <p:spPr bwMode="auto">
            <a:xfrm>
              <a:off x="5397260" y="3971505"/>
              <a:ext cx="1028700" cy="1828800"/>
            </a:xfrm>
            <a:prstGeom prst="rect">
              <a:avLst/>
            </a:prstGeom>
            <a:noFill/>
          </p:spPr>
        </p:pic>
        <p:pic>
          <p:nvPicPr>
            <p:cNvPr id="9" name="Picture 8" descr="C:\Users\RIPON\Desktop\FOR BUYER\New folder\SHOWROOM (6).jpg">
              <a:extLst>
                <a:ext uri="{FF2B5EF4-FFF2-40B4-BE49-F238E27FC236}">
                  <a16:creationId xmlns:a16="http://schemas.microsoft.com/office/drawing/2014/main" id="{1844AD36-9C0F-441A-AC68-D0782F192A81}"/>
                </a:ext>
              </a:extLst>
            </p:cNvPr>
            <p:cNvPicPr>
              <a:picLocks noChangeAspect="1" noChangeArrowheads="1"/>
            </p:cNvPicPr>
            <p:nvPr/>
          </p:nvPicPr>
          <p:blipFill>
            <a:blip r:embed="rId5" cstate="print"/>
            <a:srcRect/>
            <a:stretch>
              <a:fillRect/>
            </a:stretch>
          </p:blipFill>
          <p:spPr bwMode="auto">
            <a:xfrm>
              <a:off x="4198188" y="3980132"/>
              <a:ext cx="1028700" cy="1828800"/>
            </a:xfrm>
            <a:prstGeom prst="rect">
              <a:avLst/>
            </a:prstGeom>
            <a:noFill/>
          </p:spPr>
        </p:pic>
        <p:pic>
          <p:nvPicPr>
            <p:cNvPr id="10" name="Picture 9" descr="C:\Users\RIPON\Desktop\FOR BUYER\New folder\SHOWROOM (7).jpg">
              <a:extLst>
                <a:ext uri="{FF2B5EF4-FFF2-40B4-BE49-F238E27FC236}">
                  <a16:creationId xmlns:a16="http://schemas.microsoft.com/office/drawing/2014/main" id="{950769A2-4AD6-4E0D-9C0A-4D3B5F82246A}"/>
                </a:ext>
              </a:extLst>
            </p:cNvPr>
            <p:cNvPicPr>
              <a:picLocks noChangeAspect="1" noChangeArrowheads="1"/>
            </p:cNvPicPr>
            <p:nvPr/>
          </p:nvPicPr>
          <p:blipFill>
            <a:blip r:embed="rId6" cstate="print"/>
            <a:srcRect/>
            <a:stretch>
              <a:fillRect/>
            </a:stretch>
          </p:blipFill>
          <p:spPr bwMode="auto">
            <a:xfrm>
              <a:off x="2964611" y="3937000"/>
              <a:ext cx="1028700" cy="1828800"/>
            </a:xfrm>
            <a:prstGeom prst="rect">
              <a:avLst/>
            </a:prstGeom>
            <a:noFill/>
          </p:spPr>
        </p:pic>
        <p:pic>
          <p:nvPicPr>
            <p:cNvPr id="11" name="Picture 10" descr="C:\Users\RIPON\Desktop\FOR BUYER\New folder\SHOWROOM (8).jpg">
              <a:extLst>
                <a:ext uri="{FF2B5EF4-FFF2-40B4-BE49-F238E27FC236}">
                  <a16:creationId xmlns:a16="http://schemas.microsoft.com/office/drawing/2014/main" id="{5A09E0B5-4F71-46CB-93EB-D5FCA7E4E977}"/>
                </a:ext>
              </a:extLst>
            </p:cNvPr>
            <p:cNvPicPr>
              <a:picLocks noChangeAspect="1" noChangeArrowheads="1"/>
            </p:cNvPicPr>
            <p:nvPr/>
          </p:nvPicPr>
          <p:blipFill>
            <a:blip r:embed="rId7" cstate="print"/>
            <a:srcRect/>
            <a:stretch>
              <a:fillRect/>
            </a:stretch>
          </p:blipFill>
          <p:spPr bwMode="auto">
            <a:xfrm>
              <a:off x="1782793" y="3954253"/>
              <a:ext cx="1028700" cy="1828800"/>
            </a:xfrm>
            <a:prstGeom prst="rect">
              <a:avLst/>
            </a:prstGeom>
            <a:noFill/>
          </p:spPr>
        </p:pic>
        <p:pic>
          <p:nvPicPr>
            <p:cNvPr id="12" name="Picture 11" descr="C:\Users\RIPON\Desktop\FOR BUYER\New folder\SHOWROOM (9).jpg">
              <a:extLst>
                <a:ext uri="{FF2B5EF4-FFF2-40B4-BE49-F238E27FC236}">
                  <a16:creationId xmlns:a16="http://schemas.microsoft.com/office/drawing/2014/main" id="{E14F32A0-3308-41FB-8379-2FC6327B183E}"/>
                </a:ext>
              </a:extLst>
            </p:cNvPr>
            <p:cNvPicPr>
              <a:picLocks noChangeAspect="1" noChangeArrowheads="1"/>
            </p:cNvPicPr>
            <p:nvPr/>
          </p:nvPicPr>
          <p:blipFill>
            <a:blip r:embed="rId8" cstate="print"/>
            <a:srcRect/>
            <a:stretch>
              <a:fillRect/>
            </a:stretch>
          </p:blipFill>
          <p:spPr bwMode="auto">
            <a:xfrm>
              <a:off x="592348" y="3919747"/>
              <a:ext cx="1028700" cy="1828800"/>
            </a:xfrm>
            <a:prstGeom prst="rect">
              <a:avLst/>
            </a:prstGeom>
            <a:noFill/>
          </p:spPr>
        </p:pic>
      </p:grpSp>
    </p:spTree>
    <p:extLst>
      <p:ext uri="{BB962C8B-B14F-4D97-AF65-F5344CB8AC3E}">
        <p14:creationId xmlns:p14="http://schemas.microsoft.com/office/powerpoint/2010/main" val="22938742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altLang="ko-KR"/>
              <a:t>Textile Fusion Limited </a:t>
            </a:r>
            <a:endParaRPr lang="ko-KR" altLang="en-US"/>
          </a:p>
        </p:txBody>
      </p:sp>
      <p:sp>
        <p:nvSpPr>
          <p:cNvPr id="4" name="Title 3"/>
          <p:cNvSpPr>
            <a:spLocks noGrp="1"/>
          </p:cNvSpPr>
          <p:nvPr>
            <p:ph type="title"/>
          </p:nvPr>
        </p:nvSpPr>
        <p:spPr/>
        <p:txBody>
          <a:bodyPr>
            <a:normAutofit/>
          </a:bodyPr>
          <a:lstStyle/>
          <a:p>
            <a:r>
              <a:rPr lang="en-US" sz="3200" dirty="0">
                <a:latin typeface="Trebuchet MS" panose="020B0603020202020204" pitchFamily="34" charset="0"/>
              </a:rPr>
              <a:t>Product Display - Woven </a:t>
            </a:r>
          </a:p>
        </p:txBody>
      </p:sp>
      <p:pic>
        <p:nvPicPr>
          <p:cNvPr id="5" name="Picture 4">
            <a:extLst>
              <a:ext uri="{FF2B5EF4-FFF2-40B4-BE49-F238E27FC236}">
                <a16:creationId xmlns:a16="http://schemas.microsoft.com/office/drawing/2014/main" id="{73F255A8-547D-424C-8C40-742EB8CF03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518" y="1556793"/>
            <a:ext cx="5583442" cy="4099928"/>
          </a:xfrm>
          <a:prstGeom prst="rect">
            <a:avLst/>
          </a:prstGeom>
          <a:ln>
            <a:noFill/>
          </a:ln>
          <a:effectLst>
            <a:outerShdw blurRad="292100" dist="139700" dir="2700000" algn="tl" rotWithShape="0">
              <a:srgbClr val="333333">
                <a:alpha val="65000"/>
              </a:srgbClr>
            </a:outerShdw>
          </a:effectLst>
        </p:spPr>
      </p:pic>
      <p:pic>
        <p:nvPicPr>
          <p:cNvPr id="8" name="Picture 7" descr="4.pdf"/>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6850673" y="666895"/>
            <a:ext cx="4383695" cy="5893042"/>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73F255A8-547D-424C-8C40-742EB8CF03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518" y="1556794"/>
            <a:ext cx="5583442" cy="4099928"/>
          </a:xfrm>
          <a:prstGeom prst="rect">
            <a:avLst/>
          </a:prstGeom>
          <a:ln>
            <a:noFill/>
          </a:ln>
          <a:effectLst>
            <a:outerShdw blurRad="292100" dist="139700" dir="2700000" algn="tl" rotWithShape="0">
              <a:srgbClr val="333333">
                <a:alpha val="65000"/>
              </a:srgbClr>
            </a:outerShdw>
          </a:effectLst>
        </p:spPr>
      </p:pic>
      <p:pic>
        <p:nvPicPr>
          <p:cNvPr id="7" name="Picture 6" descr="4.pdf"/>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6850673" y="666896"/>
            <a:ext cx="4383695" cy="589304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482915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txBox="1">
            <a:spLocks/>
          </p:cNvSpPr>
          <p:nvPr/>
        </p:nvSpPr>
        <p:spPr>
          <a:xfrm>
            <a:off x="3403235" y="4018821"/>
            <a:ext cx="5486400" cy="995500"/>
          </a:xfrm>
          <a:prstGeom prst="rect">
            <a:avLst/>
          </a:prstGeom>
        </p:spPr>
        <p:txBody>
          <a:bodyPr>
            <a:noAutofit/>
          </a:bodyPr>
          <a:lstStyle>
            <a:lvl1pPr marL="349250" indent="-349250" algn="l" defTabSz="914400" rtl="0" eaLnBrk="1" latinLnBrk="0" hangingPunct="1">
              <a:spcBef>
                <a:spcPts val="2000"/>
              </a:spcBef>
              <a:buClr>
                <a:schemeClr val="accent1">
                  <a:lumMod val="60000"/>
                  <a:lumOff val="40000"/>
                </a:schemeClr>
              </a:buClr>
              <a:buSzPct val="110000"/>
              <a:buFont typeface="Wingdings 2" pitchFamily="18" charset="2"/>
              <a:buChar char=""/>
              <a:defRPr sz="24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75000"/>
                </a:schemeClr>
              </a:buClr>
              <a:buSzPct val="110000"/>
              <a:buFont typeface="Wingdings 2" pitchFamily="18" charset="2"/>
              <a:buChar char=""/>
              <a:defRPr sz="2200" kern="1200">
                <a:solidFill>
                  <a:schemeClr val="tx1">
                    <a:lumMod val="65000"/>
                    <a:lumOff val="35000"/>
                  </a:schemeClr>
                </a:solidFill>
                <a:latin typeface="+mn-lt"/>
                <a:ea typeface="+mn-ea"/>
                <a:cs typeface="+mn-cs"/>
              </a:defRPr>
            </a:lvl2pPr>
            <a:lvl3pPr marL="96837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2000" kern="1200">
                <a:solidFill>
                  <a:schemeClr val="tx1">
                    <a:lumMod val="65000"/>
                    <a:lumOff val="35000"/>
                  </a:schemeClr>
                </a:solidFill>
                <a:latin typeface="+mn-lt"/>
                <a:ea typeface="+mn-ea"/>
                <a:cs typeface="+mn-cs"/>
              </a:defRPr>
            </a:lvl3pPr>
            <a:lvl4pPr marL="1263650" indent="-295275" algn="l" defTabSz="914400" rtl="0" eaLnBrk="1" latinLnBrk="0" hangingPunct="1">
              <a:spcBef>
                <a:spcPts val="600"/>
              </a:spcBef>
              <a:buClr>
                <a:schemeClr val="accent1">
                  <a:lumMod val="75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4pPr>
            <a:lvl5pPr marL="154622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5pPr>
            <a:lvl6pPr marL="1828800"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6pPr>
            <a:lvl7pPr marL="21177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7pPr>
            <a:lvl8pPr marL="2398713"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8pPr>
            <a:lvl9pPr marL="26892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a:solidFill>
                  <a:schemeClr val="tx1">
                    <a:lumMod val="65000"/>
                    <a:lumOff val="35000"/>
                  </a:schemeClr>
                </a:solidFill>
                <a:latin typeface="+mn-lt"/>
                <a:ea typeface="+mn-ea"/>
                <a:cs typeface="+mn-cs"/>
              </a:defRPr>
            </a:lvl9pPr>
          </a:lstStyle>
          <a:p>
            <a:pPr marL="0" indent="0" algn="ctr">
              <a:buClr>
                <a:srgbClr val="5FCBEF">
                  <a:lumMod val="60000"/>
                  <a:lumOff val="40000"/>
                </a:srgbClr>
              </a:buClr>
              <a:buNone/>
            </a:pPr>
            <a:r>
              <a:rPr lang="en-US" sz="1800" i="1" dirty="0" smtClean="0">
                <a:solidFill>
                  <a:schemeClr val="tx1"/>
                </a:solidFill>
                <a:latin typeface="Trebuchet MS" pitchFamily="34" charset="0"/>
                <a:ea typeface="Verdana" pitchFamily="34" charset="0"/>
                <a:cs typeface="Verdana" pitchFamily="34" charset="0"/>
              </a:rPr>
              <a:t>Avenue# 03,House No# 333 Ground</a:t>
            </a:r>
            <a:r>
              <a:rPr lang="en-US" sz="1800" i="1" baseline="30000" dirty="0" smtClean="0">
                <a:solidFill>
                  <a:schemeClr val="tx1"/>
                </a:solidFill>
                <a:latin typeface="Trebuchet MS" pitchFamily="34" charset="0"/>
                <a:ea typeface="Verdana" pitchFamily="34" charset="0"/>
                <a:cs typeface="Verdana" pitchFamily="34" charset="0"/>
              </a:rPr>
              <a:t> </a:t>
            </a:r>
            <a:r>
              <a:rPr lang="en-US" sz="1800" i="1" dirty="0">
                <a:solidFill>
                  <a:schemeClr val="tx1"/>
                </a:solidFill>
                <a:latin typeface="Trebuchet MS" pitchFamily="34" charset="0"/>
                <a:ea typeface="Verdana" pitchFamily="34" charset="0"/>
                <a:cs typeface="Verdana" pitchFamily="34" charset="0"/>
              </a:rPr>
              <a:t>Floor, Road # </a:t>
            </a:r>
            <a:r>
              <a:rPr lang="en-US" sz="1800" i="1" dirty="0" smtClean="0">
                <a:solidFill>
                  <a:schemeClr val="tx1"/>
                </a:solidFill>
                <a:latin typeface="Trebuchet MS" pitchFamily="34" charset="0"/>
                <a:ea typeface="Verdana" pitchFamily="34" charset="0"/>
                <a:cs typeface="Verdana" pitchFamily="34" charset="0"/>
              </a:rPr>
              <a:t>05, DOHS,Mirpur-1216,Dhaka-Bangladesh</a:t>
            </a:r>
            <a:endParaRPr lang="en-US" sz="1800" i="1" dirty="0">
              <a:solidFill>
                <a:schemeClr val="tx1"/>
              </a:solidFill>
              <a:latin typeface="Trebuchet MS" pitchFamily="34" charset="0"/>
              <a:ea typeface="Verdana" pitchFamily="34" charset="0"/>
              <a:cs typeface="Verdana" pitchFamily="34" charset="0"/>
            </a:endParaRPr>
          </a:p>
          <a:p>
            <a:pPr marL="0" indent="0" algn="ctr">
              <a:buClr>
                <a:srgbClr val="5FCBEF">
                  <a:lumMod val="60000"/>
                  <a:lumOff val="40000"/>
                </a:srgbClr>
              </a:buClr>
              <a:buNone/>
            </a:pPr>
            <a:r>
              <a:rPr lang="en-US" sz="1800" i="1" dirty="0">
                <a:solidFill>
                  <a:schemeClr val="tx1"/>
                </a:solidFill>
                <a:latin typeface="Trebuchet MS" pitchFamily="34" charset="0"/>
                <a:ea typeface="Verdana" pitchFamily="34" charset="0"/>
                <a:cs typeface="Verdana" pitchFamily="34" charset="0"/>
              </a:rPr>
              <a:t>Cell: # +8801813893913 </a:t>
            </a:r>
          </a:p>
          <a:p>
            <a:pPr marL="0" indent="0" algn="ctr">
              <a:buClr>
                <a:srgbClr val="5FCBEF">
                  <a:lumMod val="60000"/>
                  <a:lumOff val="40000"/>
                </a:srgbClr>
              </a:buClr>
              <a:buNone/>
            </a:pPr>
            <a:r>
              <a:rPr lang="en-US" sz="1800" i="1" dirty="0">
                <a:solidFill>
                  <a:schemeClr val="tx1"/>
                </a:solidFill>
                <a:latin typeface="Trebuchet MS" pitchFamily="34" charset="0"/>
                <a:ea typeface="Verdana" pitchFamily="34" charset="0"/>
                <a:cs typeface="Verdana" pitchFamily="34" charset="0"/>
              </a:rPr>
              <a:t>Office# +880255085047  Fax# +8802550860478   </a:t>
            </a:r>
          </a:p>
          <a:p>
            <a:pPr marL="0" indent="0" algn="ctr">
              <a:buClr>
                <a:srgbClr val="5FCBEF">
                  <a:lumMod val="60000"/>
                  <a:lumOff val="40000"/>
                </a:srgbClr>
              </a:buClr>
              <a:buNone/>
            </a:pPr>
            <a:r>
              <a:rPr lang="en-US" i="1" dirty="0">
                <a:solidFill>
                  <a:schemeClr val="tx1"/>
                </a:solidFill>
                <a:latin typeface="Trebuchet MS" pitchFamily="34" charset="0"/>
                <a:ea typeface="Verdana" pitchFamily="34" charset="0"/>
                <a:cs typeface="Verdana" pitchFamily="34" charset="0"/>
              </a:rPr>
              <a:t>Email: </a:t>
            </a:r>
            <a:r>
              <a:rPr lang="en-US" u="sng" dirty="0">
                <a:solidFill>
                  <a:srgbClr val="92D050"/>
                </a:solidFill>
                <a:latin typeface="Trebuchet MS" pitchFamily="34" charset="0"/>
                <a:ea typeface="Verdana" pitchFamily="34" charset="0"/>
                <a:cs typeface="Verdana" pitchFamily="34" charset="0"/>
              </a:rPr>
              <a:t>murad@apparelmart-bd.com </a:t>
            </a:r>
          </a:p>
          <a:p>
            <a:pPr marL="0" indent="0" algn="ctr">
              <a:buClr>
                <a:srgbClr val="5FCBEF">
                  <a:lumMod val="60000"/>
                  <a:lumOff val="40000"/>
                </a:srgbClr>
              </a:buClr>
              <a:buNone/>
            </a:pPr>
            <a:endParaRPr lang="en-US" sz="1800" i="1" dirty="0">
              <a:solidFill>
                <a:schemeClr val="tx1"/>
              </a:solidFill>
              <a:latin typeface="Trebuchet MS" pitchFamily="34" charset="0"/>
              <a:ea typeface="Verdana" pitchFamily="34" charset="0"/>
              <a:cs typeface="Verdana" pitchFamily="34" charset="0"/>
            </a:endParaRPr>
          </a:p>
          <a:p>
            <a:pPr marL="0" indent="0">
              <a:buClr>
                <a:srgbClr val="5FCBEF">
                  <a:lumMod val="60000"/>
                  <a:lumOff val="40000"/>
                </a:srgbClr>
              </a:buClr>
              <a:buNone/>
            </a:pPr>
            <a:endParaRPr lang="en-US" sz="1800" i="1" dirty="0">
              <a:solidFill>
                <a:schemeClr val="tx1"/>
              </a:solidFill>
              <a:latin typeface="Verdana" pitchFamily="34" charset="0"/>
              <a:ea typeface="Verdana" pitchFamily="34" charset="0"/>
              <a:cs typeface="Verdana" pitchFamily="34" charset="0"/>
            </a:endParaRPr>
          </a:p>
          <a:p>
            <a:pPr marL="0" indent="0">
              <a:buClr>
                <a:srgbClr val="5FCBEF">
                  <a:lumMod val="60000"/>
                  <a:lumOff val="40000"/>
                </a:srgbClr>
              </a:buClr>
              <a:buNone/>
            </a:pPr>
            <a:endParaRPr lang="en-US" sz="1800" i="1" dirty="0">
              <a:solidFill>
                <a:schemeClr val="tx1"/>
              </a:solidFill>
              <a:latin typeface="Trebuchet MS" panose="020B0603020202020204"/>
            </a:endParaRPr>
          </a:p>
        </p:txBody>
      </p:sp>
      <p:sp>
        <p:nvSpPr>
          <p:cNvPr id="5" name="Rectangle 4"/>
          <p:cNvSpPr/>
          <p:nvPr/>
        </p:nvSpPr>
        <p:spPr>
          <a:xfrm>
            <a:off x="4157261" y="3111565"/>
            <a:ext cx="3861047" cy="55510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342900" latinLnBrk="0"/>
            <a:r>
              <a:rPr lang="en-US" sz="2400" i="1" dirty="0" smtClean="0">
                <a:solidFill>
                  <a:srgbClr val="002060"/>
                </a:solidFill>
                <a:latin typeface="Trebuchet MS"/>
                <a:cs typeface="Trebuchet MS"/>
              </a:rPr>
              <a:t>www.apparelmart-bd.com</a:t>
            </a:r>
            <a:endParaRPr lang="en-US" sz="2400" i="1" dirty="0">
              <a:solidFill>
                <a:srgbClr val="002060"/>
              </a:solidFill>
              <a:latin typeface="Trebuchet MS"/>
              <a:cs typeface="Trebuchet MS"/>
            </a:endParaRPr>
          </a:p>
        </p:txBody>
      </p:sp>
      <p:sp>
        <p:nvSpPr>
          <p:cNvPr id="7" name="Rectangle 6"/>
          <p:cNvSpPr/>
          <p:nvPr/>
        </p:nvSpPr>
        <p:spPr>
          <a:xfrm>
            <a:off x="3653780" y="3814171"/>
            <a:ext cx="4914900" cy="5715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342900" latinLnBrk="0"/>
            <a:endParaRPr lang="en-US" sz="1350" i="1">
              <a:solidFill>
                <a:prstClr val="white"/>
              </a:solidFill>
              <a:latin typeface="Trebuchet MS" panose="020B0603020202020204"/>
            </a:endParaRPr>
          </a:p>
        </p:txBody>
      </p:sp>
      <p:sp>
        <p:nvSpPr>
          <p:cNvPr id="16" name="Rectangle 15"/>
          <p:cNvSpPr/>
          <p:nvPr/>
        </p:nvSpPr>
        <p:spPr>
          <a:xfrm>
            <a:off x="3638550" y="5829300"/>
            <a:ext cx="4914900" cy="5715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342900" latinLnBrk="0"/>
            <a:endParaRPr lang="en-US" sz="1350" i="1">
              <a:solidFill>
                <a:prstClr val="white"/>
              </a:solidFill>
              <a:latin typeface="Trebuchet MS" panose="020B0603020202020204"/>
            </a:endParaRPr>
          </a:p>
        </p:txBody>
      </p:sp>
      <p:sp>
        <p:nvSpPr>
          <p:cNvPr id="4" name="Rectangle 3"/>
          <p:cNvSpPr/>
          <p:nvPr/>
        </p:nvSpPr>
        <p:spPr>
          <a:xfrm>
            <a:off x="3384577" y="1078074"/>
            <a:ext cx="5406416" cy="584775"/>
          </a:xfrm>
          <a:prstGeom prst="rect">
            <a:avLst/>
          </a:prstGeom>
        </p:spPr>
        <p:txBody>
          <a:bodyPr wrap="none">
            <a:spAutoFit/>
          </a:bodyPr>
          <a:lstStyle/>
          <a:p>
            <a:r>
              <a:rPr lang="en-US" sz="3200" b="1" dirty="0">
                <a:solidFill>
                  <a:srgbClr val="FFFFFF"/>
                </a:solidFill>
                <a:latin typeface="Arial,Bold"/>
              </a:rPr>
              <a:t>Waiting to hear from you…</a:t>
            </a:r>
            <a:endParaRPr lang="en-US" sz="3200" dirty="0"/>
          </a:p>
        </p:txBody>
      </p:sp>
    </p:spTree>
    <p:extLst>
      <p:ext uri="{BB962C8B-B14F-4D97-AF65-F5344CB8AC3E}">
        <p14:creationId xmlns:p14="http://schemas.microsoft.com/office/powerpoint/2010/main" val="3375134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nvPr>
        </p:nvGraphicFramePr>
        <p:xfrm>
          <a:off x="2668192" y="1501381"/>
          <a:ext cx="1190" cy="1190"/>
        </p:xfrm>
        <a:graphic>
          <a:graphicData uri="http://schemas.openxmlformats.org/presentationml/2006/ole">
            <mc:AlternateContent xmlns:mc="http://schemas.openxmlformats.org/markup-compatibility/2006">
              <mc:Choice xmlns:v="urn:schemas-microsoft-com:vml" Requires="v">
                <p:oleObj spid="_x0000_s9308" name="think-cell Slide" r:id="rId4" imgW="270" imgH="270" progId="">
                  <p:embed/>
                </p:oleObj>
              </mc:Choice>
              <mc:Fallback>
                <p:oleObj name="think-cell Slide" r:id="rId4" imgW="270" imgH="270" progId="">
                  <p:embed/>
                  <p:pic>
                    <p:nvPicPr>
                      <p:cNvPr id="0" name="Picture 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68192" y="1501381"/>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TextBox 32"/>
          <p:cNvSpPr txBox="1"/>
          <p:nvPr/>
        </p:nvSpPr>
        <p:spPr>
          <a:xfrm>
            <a:off x="695400" y="1772816"/>
            <a:ext cx="10729192" cy="2629309"/>
          </a:xfrm>
          <a:prstGeom prst="rect">
            <a:avLst/>
          </a:prstGeom>
          <a:noFill/>
          <a:ln>
            <a:noFill/>
          </a:ln>
        </p:spPr>
        <p:style>
          <a:lnRef idx="0">
            <a:scrgbClr r="0" g="0" b="0"/>
          </a:lnRef>
          <a:fillRef idx="0">
            <a:scrgbClr r="0" g="0" b="0"/>
          </a:fillRef>
          <a:effectRef idx="0">
            <a:scrgbClr r="0" g="0" b="0"/>
          </a:effectRef>
          <a:fontRef idx="minor">
            <a:schemeClr val="accent4"/>
          </a:fontRef>
        </p:style>
        <p:txBody>
          <a:bodyPr wrap="square" tIns="67500" bIns="67500" rtlCol="0" anchor="t">
            <a:spAutoFit/>
          </a:bodyPr>
          <a:lstStyle/>
          <a:p>
            <a:endParaRPr lang="en-US" sz="5400" i="1" dirty="0"/>
          </a:p>
          <a:p>
            <a:pPr algn="ctr"/>
            <a:r>
              <a:rPr lang="en-US" sz="5400" i="1" dirty="0"/>
              <a:t>“Luck prefers the prepared mind.”</a:t>
            </a:r>
          </a:p>
          <a:p>
            <a:pPr algn="ctr"/>
            <a:endParaRPr lang="en-US" sz="5400" i="1" dirty="0" err="1">
              <a:solidFill>
                <a:srgbClr val="000000"/>
              </a:solidFill>
              <a:latin typeface="Century Gothic" pitchFamily="34" charset="0"/>
              <a:cs typeface="Arial" pitchFamily="34" charset="0"/>
            </a:endParaRPr>
          </a:p>
        </p:txBody>
      </p:sp>
    </p:spTree>
    <p:extLst>
      <p:ext uri="{BB962C8B-B14F-4D97-AF65-F5344CB8AC3E}">
        <p14:creationId xmlns:p14="http://schemas.microsoft.com/office/powerpoint/2010/main" val="22679518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flipH="1">
            <a:off x="6006527" y="1484784"/>
            <a:ext cx="16521" cy="3249708"/>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Oval 3"/>
          <p:cNvSpPr/>
          <p:nvPr/>
        </p:nvSpPr>
        <p:spPr>
          <a:xfrm>
            <a:off x="5543612" y="4059627"/>
            <a:ext cx="925830" cy="925830"/>
          </a:xfrm>
          <a:prstGeom prst="ellipse">
            <a:avLst/>
          </a:prstGeom>
          <a:solidFill>
            <a:schemeClr val="accent2"/>
          </a:solidFill>
          <a:ln>
            <a:noFill/>
          </a:ln>
          <a:effectLst>
            <a:outerShdw blurRad="152400" dist="38100" dir="5400000" sx="102000" sy="102000" algn="t"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latinLnBrk="0"/>
            <a:endParaRPr lang="en-US" sz="1013">
              <a:solidFill>
                <a:prstClr val="white"/>
              </a:solidFill>
              <a:latin typeface="Arial" panose="020B0604020202020204" pitchFamily="34" charset="0"/>
              <a:cs typeface="Arial" panose="020B0604020202020204" pitchFamily="34" charset="0"/>
            </a:endParaRPr>
          </a:p>
        </p:txBody>
      </p:sp>
      <p:sp>
        <p:nvSpPr>
          <p:cNvPr id="5" name="Oval 4"/>
          <p:cNvSpPr/>
          <p:nvPr/>
        </p:nvSpPr>
        <p:spPr>
          <a:xfrm>
            <a:off x="5749352" y="2152570"/>
            <a:ext cx="514350" cy="514350"/>
          </a:xfrm>
          <a:prstGeom prst="ellipse">
            <a:avLst/>
          </a:prstGeom>
          <a:solidFill>
            <a:schemeClr val="accent2"/>
          </a:solidFill>
          <a:ln>
            <a:noFill/>
          </a:ln>
          <a:effectLst>
            <a:outerShdw blurRad="152400" dist="38100" dir="5400000" sx="102000" sy="102000" algn="t"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latinLnBrk="0"/>
            <a:endParaRPr lang="en-US" sz="1013">
              <a:solidFill>
                <a:prstClr val="white"/>
              </a:solidFill>
              <a:latin typeface="Arial" panose="020B0604020202020204" pitchFamily="34" charset="0"/>
              <a:cs typeface="Arial" panose="020B0604020202020204" pitchFamily="34" charset="0"/>
            </a:endParaRPr>
          </a:p>
        </p:txBody>
      </p:sp>
      <p:sp>
        <p:nvSpPr>
          <p:cNvPr id="6" name="Oval 5"/>
          <p:cNvSpPr/>
          <p:nvPr/>
        </p:nvSpPr>
        <p:spPr>
          <a:xfrm>
            <a:off x="5749352" y="3099176"/>
            <a:ext cx="514350" cy="514350"/>
          </a:xfrm>
          <a:prstGeom prst="ellipse">
            <a:avLst/>
          </a:prstGeom>
          <a:solidFill>
            <a:schemeClr val="accent2"/>
          </a:solidFill>
          <a:ln>
            <a:noFill/>
          </a:ln>
          <a:effectLst>
            <a:outerShdw blurRad="152400" dist="38100" dir="5400000" sx="102000" sy="102000" algn="t"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latinLnBrk="0"/>
            <a:endParaRPr lang="en-US" sz="1013">
              <a:solidFill>
                <a:prstClr val="white"/>
              </a:solidFill>
              <a:latin typeface="Arial" panose="020B0604020202020204" pitchFamily="34" charset="0"/>
              <a:cs typeface="Arial" panose="020B0604020202020204" pitchFamily="34" charset="0"/>
            </a:endParaRPr>
          </a:p>
        </p:txBody>
      </p:sp>
      <p:grpSp>
        <p:nvGrpSpPr>
          <p:cNvPr id="14" name="Group 4"/>
          <p:cNvGrpSpPr>
            <a:grpSpLocks noChangeAspect="1"/>
          </p:cNvGrpSpPr>
          <p:nvPr/>
        </p:nvGrpSpPr>
        <p:grpSpPr bwMode="auto">
          <a:xfrm>
            <a:off x="5735960" y="4298407"/>
            <a:ext cx="541139" cy="420589"/>
            <a:chOff x="1607" y="2001"/>
            <a:chExt cx="606" cy="471"/>
          </a:xfrm>
          <a:solidFill>
            <a:schemeClr val="bg1"/>
          </a:solidFill>
        </p:grpSpPr>
        <p:sp>
          <p:nvSpPr>
            <p:cNvPr id="17" name="Freeform 6"/>
            <p:cNvSpPr>
              <a:spLocks noEditPoints="1"/>
            </p:cNvSpPr>
            <p:nvPr/>
          </p:nvSpPr>
          <p:spPr bwMode="auto">
            <a:xfrm>
              <a:off x="1607" y="2001"/>
              <a:ext cx="419" cy="419"/>
            </a:xfrm>
            <a:custGeom>
              <a:avLst/>
              <a:gdLst>
                <a:gd name="T0" fmla="*/ 1126 w 2512"/>
                <a:gd name="T1" fmla="*/ 185 h 2511"/>
                <a:gd name="T2" fmla="*/ 1013 w 2512"/>
                <a:gd name="T3" fmla="*/ 404 h 2511"/>
                <a:gd name="T4" fmla="*/ 722 w 2512"/>
                <a:gd name="T5" fmla="*/ 525 h 2511"/>
                <a:gd name="T6" fmla="*/ 525 w 2512"/>
                <a:gd name="T7" fmla="*/ 389 h 2511"/>
                <a:gd name="T8" fmla="*/ 390 w 2512"/>
                <a:gd name="T9" fmla="*/ 560 h 2511"/>
                <a:gd name="T10" fmla="*/ 524 w 2512"/>
                <a:gd name="T11" fmla="*/ 753 h 2511"/>
                <a:gd name="T12" fmla="*/ 383 w 2512"/>
                <a:gd name="T13" fmla="*/ 1094 h 2511"/>
                <a:gd name="T14" fmla="*/ 151 w 2512"/>
                <a:gd name="T15" fmla="*/ 1135 h 2511"/>
                <a:gd name="T16" fmla="*/ 127 w 2512"/>
                <a:gd name="T17" fmla="*/ 1353 h 2511"/>
                <a:gd name="T18" fmla="*/ 361 w 2512"/>
                <a:gd name="T19" fmla="*/ 1395 h 2511"/>
                <a:gd name="T20" fmla="*/ 481 w 2512"/>
                <a:gd name="T21" fmla="*/ 1686 h 2511"/>
                <a:gd name="T22" fmla="*/ 407 w 2512"/>
                <a:gd name="T23" fmla="*/ 1921 h 2511"/>
                <a:gd name="T24" fmla="*/ 496 w 2512"/>
                <a:gd name="T25" fmla="*/ 2105 h 2511"/>
                <a:gd name="T26" fmla="*/ 693 w 2512"/>
                <a:gd name="T27" fmla="*/ 2003 h 2511"/>
                <a:gd name="T28" fmla="*/ 886 w 2512"/>
                <a:gd name="T29" fmla="*/ 2061 h 2511"/>
                <a:gd name="T30" fmla="*/ 1124 w 2512"/>
                <a:gd name="T31" fmla="*/ 2166 h 2511"/>
                <a:gd name="T32" fmla="*/ 1175 w 2512"/>
                <a:gd name="T33" fmla="*/ 2391 h 2511"/>
                <a:gd name="T34" fmla="*/ 1384 w 2512"/>
                <a:gd name="T35" fmla="*/ 2345 h 2511"/>
                <a:gd name="T36" fmla="*/ 1434 w 2512"/>
                <a:gd name="T37" fmla="*/ 2124 h 2511"/>
                <a:gd name="T38" fmla="*/ 1775 w 2512"/>
                <a:gd name="T39" fmla="*/ 1985 h 2511"/>
                <a:gd name="T40" fmla="*/ 1969 w 2512"/>
                <a:gd name="T41" fmla="*/ 2125 h 2511"/>
                <a:gd name="T42" fmla="*/ 2125 w 2512"/>
                <a:gd name="T43" fmla="*/ 1968 h 2511"/>
                <a:gd name="T44" fmla="*/ 1985 w 2512"/>
                <a:gd name="T45" fmla="*/ 1774 h 2511"/>
                <a:gd name="T46" fmla="*/ 2125 w 2512"/>
                <a:gd name="T47" fmla="*/ 1433 h 2511"/>
                <a:gd name="T48" fmla="*/ 2345 w 2512"/>
                <a:gd name="T49" fmla="*/ 1384 h 2511"/>
                <a:gd name="T50" fmla="*/ 2392 w 2512"/>
                <a:gd name="T51" fmla="*/ 1175 h 2511"/>
                <a:gd name="T52" fmla="*/ 2165 w 2512"/>
                <a:gd name="T53" fmla="*/ 1124 h 2511"/>
                <a:gd name="T54" fmla="*/ 2062 w 2512"/>
                <a:gd name="T55" fmla="*/ 887 h 2511"/>
                <a:gd name="T56" fmla="*/ 2002 w 2512"/>
                <a:gd name="T57" fmla="*/ 694 h 2511"/>
                <a:gd name="T58" fmla="*/ 2105 w 2512"/>
                <a:gd name="T59" fmla="*/ 496 h 2511"/>
                <a:gd name="T60" fmla="*/ 1921 w 2512"/>
                <a:gd name="T61" fmla="*/ 407 h 2511"/>
                <a:gd name="T62" fmla="*/ 1686 w 2512"/>
                <a:gd name="T63" fmla="*/ 482 h 2511"/>
                <a:gd name="T64" fmla="*/ 1395 w 2512"/>
                <a:gd name="T65" fmla="*/ 361 h 2511"/>
                <a:gd name="T66" fmla="*/ 1353 w 2512"/>
                <a:gd name="T67" fmla="*/ 128 h 2511"/>
                <a:gd name="T68" fmla="*/ 1384 w 2512"/>
                <a:gd name="T69" fmla="*/ 12 h 2511"/>
                <a:gd name="T70" fmla="*/ 1504 w 2512"/>
                <a:gd name="T71" fmla="*/ 185 h 2511"/>
                <a:gd name="T72" fmla="*/ 1860 w 2512"/>
                <a:gd name="T73" fmla="*/ 304 h 2511"/>
                <a:gd name="T74" fmla="*/ 2053 w 2512"/>
                <a:gd name="T75" fmla="*/ 289 h 2511"/>
                <a:gd name="T76" fmla="*/ 2243 w 2512"/>
                <a:gd name="T77" fmla="*/ 527 h 2511"/>
                <a:gd name="T78" fmla="*/ 2154 w 2512"/>
                <a:gd name="T79" fmla="*/ 806 h 2511"/>
                <a:gd name="T80" fmla="*/ 2420 w 2512"/>
                <a:gd name="T81" fmla="*/ 1034 h 2511"/>
                <a:gd name="T82" fmla="*/ 2512 w 2512"/>
                <a:gd name="T83" fmla="*/ 1318 h 2511"/>
                <a:gd name="T84" fmla="*/ 2392 w 2512"/>
                <a:gd name="T85" fmla="*/ 1493 h 2511"/>
                <a:gd name="T86" fmla="*/ 2119 w 2512"/>
                <a:gd name="T87" fmla="*/ 1769 h 2511"/>
                <a:gd name="T88" fmla="*/ 2237 w 2512"/>
                <a:gd name="T89" fmla="*/ 2016 h 2511"/>
                <a:gd name="T90" fmla="*/ 2015 w 2512"/>
                <a:gd name="T91" fmla="*/ 2237 h 2511"/>
                <a:gd name="T92" fmla="*/ 1768 w 2512"/>
                <a:gd name="T93" fmla="*/ 2120 h 2511"/>
                <a:gd name="T94" fmla="*/ 1492 w 2512"/>
                <a:gd name="T95" fmla="*/ 2391 h 2511"/>
                <a:gd name="T96" fmla="*/ 1319 w 2512"/>
                <a:gd name="T97" fmla="*/ 2511 h 2511"/>
                <a:gd name="T98" fmla="*/ 1033 w 2512"/>
                <a:gd name="T99" fmla="*/ 2420 h 2511"/>
                <a:gd name="T100" fmla="*/ 807 w 2512"/>
                <a:gd name="T101" fmla="*/ 2154 h 2511"/>
                <a:gd name="T102" fmla="*/ 528 w 2512"/>
                <a:gd name="T103" fmla="*/ 2242 h 2511"/>
                <a:gd name="T104" fmla="*/ 286 w 2512"/>
                <a:gd name="T105" fmla="*/ 2046 h 2511"/>
                <a:gd name="T106" fmla="*/ 323 w 2512"/>
                <a:gd name="T107" fmla="*/ 1838 h 2511"/>
                <a:gd name="T108" fmla="*/ 152 w 2512"/>
                <a:gd name="T109" fmla="*/ 1501 h 2511"/>
                <a:gd name="T110" fmla="*/ 3 w 2512"/>
                <a:gd name="T111" fmla="*/ 1353 h 2511"/>
                <a:gd name="T112" fmla="*/ 66 w 2512"/>
                <a:gd name="T113" fmla="*/ 1051 h 2511"/>
                <a:gd name="T114" fmla="*/ 328 w 2512"/>
                <a:gd name="T115" fmla="*/ 873 h 2511"/>
                <a:gd name="T116" fmla="*/ 270 w 2512"/>
                <a:gd name="T117" fmla="*/ 559 h 2511"/>
                <a:gd name="T118" fmla="*/ 435 w 2512"/>
                <a:gd name="T119" fmla="*/ 304 h 2511"/>
                <a:gd name="T120" fmla="*/ 627 w 2512"/>
                <a:gd name="T121" fmla="*/ 289 h 2511"/>
                <a:gd name="T122" fmla="*/ 1008 w 2512"/>
                <a:gd name="T123" fmla="*/ 283 h 2511"/>
                <a:gd name="T124" fmla="*/ 1099 w 2512"/>
                <a:gd name="T125" fmla="*/ 25 h 2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2" h="2511">
                  <a:moveTo>
                    <a:pt x="1193" y="118"/>
                  </a:moveTo>
                  <a:lnTo>
                    <a:pt x="1175" y="121"/>
                  </a:lnTo>
                  <a:lnTo>
                    <a:pt x="1159" y="128"/>
                  </a:lnTo>
                  <a:lnTo>
                    <a:pt x="1146" y="138"/>
                  </a:lnTo>
                  <a:lnTo>
                    <a:pt x="1136" y="151"/>
                  </a:lnTo>
                  <a:lnTo>
                    <a:pt x="1128" y="167"/>
                  </a:lnTo>
                  <a:lnTo>
                    <a:pt x="1126" y="185"/>
                  </a:lnTo>
                  <a:lnTo>
                    <a:pt x="1126" y="330"/>
                  </a:lnTo>
                  <a:lnTo>
                    <a:pt x="1124" y="346"/>
                  </a:lnTo>
                  <a:lnTo>
                    <a:pt x="1117" y="361"/>
                  </a:lnTo>
                  <a:lnTo>
                    <a:pt x="1107" y="373"/>
                  </a:lnTo>
                  <a:lnTo>
                    <a:pt x="1094" y="383"/>
                  </a:lnTo>
                  <a:lnTo>
                    <a:pt x="1078" y="388"/>
                  </a:lnTo>
                  <a:lnTo>
                    <a:pt x="1013" y="404"/>
                  </a:lnTo>
                  <a:lnTo>
                    <a:pt x="949" y="425"/>
                  </a:lnTo>
                  <a:lnTo>
                    <a:pt x="886" y="451"/>
                  </a:lnTo>
                  <a:lnTo>
                    <a:pt x="827" y="482"/>
                  </a:lnTo>
                  <a:lnTo>
                    <a:pt x="768" y="517"/>
                  </a:lnTo>
                  <a:lnTo>
                    <a:pt x="753" y="524"/>
                  </a:lnTo>
                  <a:lnTo>
                    <a:pt x="737" y="527"/>
                  </a:lnTo>
                  <a:lnTo>
                    <a:pt x="722" y="525"/>
                  </a:lnTo>
                  <a:lnTo>
                    <a:pt x="706" y="519"/>
                  </a:lnTo>
                  <a:lnTo>
                    <a:pt x="693" y="509"/>
                  </a:lnTo>
                  <a:lnTo>
                    <a:pt x="590" y="407"/>
                  </a:lnTo>
                  <a:lnTo>
                    <a:pt x="577" y="396"/>
                  </a:lnTo>
                  <a:lnTo>
                    <a:pt x="561" y="389"/>
                  </a:lnTo>
                  <a:lnTo>
                    <a:pt x="543" y="387"/>
                  </a:lnTo>
                  <a:lnTo>
                    <a:pt x="525" y="389"/>
                  </a:lnTo>
                  <a:lnTo>
                    <a:pt x="510" y="396"/>
                  </a:lnTo>
                  <a:lnTo>
                    <a:pt x="496" y="407"/>
                  </a:lnTo>
                  <a:lnTo>
                    <a:pt x="407" y="496"/>
                  </a:lnTo>
                  <a:lnTo>
                    <a:pt x="396" y="511"/>
                  </a:lnTo>
                  <a:lnTo>
                    <a:pt x="390" y="526"/>
                  </a:lnTo>
                  <a:lnTo>
                    <a:pt x="387" y="544"/>
                  </a:lnTo>
                  <a:lnTo>
                    <a:pt x="390" y="560"/>
                  </a:lnTo>
                  <a:lnTo>
                    <a:pt x="396" y="577"/>
                  </a:lnTo>
                  <a:lnTo>
                    <a:pt x="407" y="590"/>
                  </a:lnTo>
                  <a:lnTo>
                    <a:pt x="510" y="694"/>
                  </a:lnTo>
                  <a:lnTo>
                    <a:pt x="520" y="706"/>
                  </a:lnTo>
                  <a:lnTo>
                    <a:pt x="525" y="721"/>
                  </a:lnTo>
                  <a:lnTo>
                    <a:pt x="526" y="737"/>
                  </a:lnTo>
                  <a:lnTo>
                    <a:pt x="524" y="753"/>
                  </a:lnTo>
                  <a:lnTo>
                    <a:pt x="518" y="768"/>
                  </a:lnTo>
                  <a:lnTo>
                    <a:pt x="481" y="826"/>
                  </a:lnTo>
                  <a:lnTo>
                    <a:pt x="450" y="887"/>
                  </a:lnTo>
                  <a:lnTo>
                    <a:pt x="425" y="949"/>
                  </a:lnTo>
                  <a:lnTo>
                    <a:pt x="404" y="1013"/>
                  </a:lnTo>
                  <a:lnTo>
                    <a:pt x="387" y="1079"/>
                  </a:lnTo>
                  <a:lnTo>
                    <a:pt x="383" y="1094"/>
                  </a:lnTo>
                  <a:lnTo>
                    <a:pt x="373" y="1108"/>
                  </a:lnTo>
                  <a:lnTo>
                    <a:pt x="361" y="1118"/>
                  </a:lnTo>
                  <a:lnTo>
                    <a:pt x="347" y="1124"/>
                  </a:lnTo>
                  <a:lnTo>
                    <a:pt x="330" y="1126"/>
                  </a:lnTo>
                  <a:lnTo>
                    <a:pt x="185" y="1126"/>
                  </a:lnTo>
                  <a:lnTo>
                    <a:pt x="168" y="1129"/>
                  </a:lnTo>
                  <a:lnTo>
                    <a:pt x="151" y="1135"/>
                  </a:lnTo>
                  <a:lnTo>
                    <a:pt x="138" y="1145"/>
                  </a:lnTo>
                  <a:lnTo>
                    <a:pt x="127" y="1160"/>
                  </a:lnTo>
                  <a:lnTo>
                    <a:pt x="120" y="1175"/>
                  </a:lnTo>
                  <a:lnTo>
                    <a:pt x="118" y="1193"/>
                  </a:lnTo>
                  <a:lnTo>
                    <a:pt x="118" y="1318"/>
                  </a:lnTo>
                  <a:lnTo>
                    <a:pt x="120" y="1337"/>
                  </a:lnTo>
                  <a:lnTo>
                    <a:pt x="127" y="1353"/>
                  </a:lnTo>
                  <a:lnTo>
                    <a:pt x="138" y="1366"/>
                  </a:lnTo>
                  <a:lnTo>
                    <a:pt x="151" y="1377"/>
                  </a:lnTo>
                  <a:lnTo>
                    <a:pt x="168" y="1384"/>
                  </a:lnTo>
                  <a:lnTo>
                    <a:pt x="185" y="1386"/>
                  </a:lnTo>
                  <a:lnTo>
                    <a:pt x="330" y="1386"/>
                  </a:lnTo>
                  <a:lnTo>
                    <a:pt x="347" y="1388"/>
                  </a:lnTo>
                  <a:lnTo>
                    <a:pt x="361" y="1395"/>
                  </a:lnTo>
                  <a:lnTo>
                    <a:pt x="373" y="1405"/>
                  </a:lnTo>
                  <a:lnTo>
                    <a:pt x="383" y="1418"/>
                  </a:lnTo>
                  <a:lnTo>
                    <a:pt x="387" y="1433"/>
                  </a:lnTo>
                  <a:lnTo>
                    <a:pt x="404" y="1499"/>
                  </a:lnTo>
                  <a:lnTo>
                    <a:pt x="425" y="1563"/>
                  </a:lnTo>
                  <a:lnTo>
                    <a:pt x="450" y="1625"/>
                  </a:lnTo>
                  <a:lnTo>
                    <a:pt x="481" y="1686"/>
                  </a:lnTo>
                  <a:lnTo>
                    <a:pt x="518" y="1744"/>
                  </a:lnTo>
                  <a:lnTo>
                    <a:pt x="524" y="1759"/>
                  </a:lnTo>
                  <a:lnTo>
                    <a:pt x="526" y="1774"/>
                  </a:lnTo>
                  <a:lnTo>
                    <a:pt x="525" y="1791"/>
                  </a:lnTo>
                  <a:lnTo>
                    <a:pt x="520" y="1805"/>
                  </a:lnTo>
                  <a:lnTo>
                    <a:pt x="510" y="1818"/>
                  </a:lnTo>
                  <a:lnTo>
                    <a:pt x="407" y="1921"/>
                  </a:lnTo>
                  <a:lnTo>
                    <a:pt x="396" y="1935"/>
                  </a:lnTo>
                  <a:lnTo>
                    <a:pt x="390" y="1952"/>
                  </a:lnTo>
                  <a:lnTo>
                    <a:pt x="387" y="1968"/>
                  </a:lnTo>
                  <a:lnTo>
                    <a:pt x="390" y="1986"/>
                  </a:lnTo>
                  <a:lnTo>
                    <a:pt x="396" y="2002"/>
                  </a:lnTo>
                  <a:lnTo>
                    <a:pt x="407" y="2016"/>
                  </a:lnTo>
                  <a:lnTo>
                    <a:pt x="496" y="2105"/>
                  </a:lnTo>
                  <a:lnTo>
                    <a:pt x="510" y="2116"/>
                  </a:lnTo>
                  <a:lnTo>
                    <a:pt x="526" y="2123"/>
                  </a:lnTo>
                  <a:lnTo>
                    <a:pt x="543" y="2125"/>
                  </a:lnTo>
                  <a:lnTo>
                    <a:pt x="561" y="2123"/>
                  </a:lnTo>
                  <a:lnTo>
                    <a:pt x="576" y="2116"/>
                  </a:lnTo>
                  <a:lnTo>
                    <a:pt x="590" y="2105"/>
                  </a:lnTo>
                  <a:lnTo>
                    <a:pt x="693" y="2003"/>
                  </a:lnTo>
                  <a:lnTo>
                    <a:pt x="706" y="1993"/>
                  </a:lnTo>
                  <a:lnTo>
                    <a:pt x="720" y="1987"/>
                  </a:lnTo>
                  <a:lnTo>
                    <a:pt x="735" y="1985"/>
                  </a:lnTo>
                  <a:lnTo>
                    <a:pt x="752" y="1987"/>
                  </a:lnTo>
                  <a:lnTo>
                    <a:pt x="768" y="1995"/>
                  </a:lnTo>
                  <a:lnTo>
                    <a:pt x="827" y="2030"/>
                  </a:lnTo>
                  <a:lnTo>
                    <a:pt x="886" y="2061"/>
                  </a:lnTo>
                  <a:lnTo>
                    <a:pt x="949" y="2087"/>
                  </a:lnTo>
                  <a:lnTo>
                    <a:pt x="1013" y="2108"/>
                  </a:lnTo>
                  <a:lnTo>
                    <a:pt x="1078" y="2124"/>
                  </a:lnTo>
                  <a:lnTo>
                    <a:pt x="1094" y="2130"/>
                  </a:lnTo>
                  <a:lnTo>
                    <a:pt x="1107" y="2138"/>
                  </a:lnTo>
                  <a:lnTo>
                    <a:pt x="1117" y="2151"/>
                  </a:lnTo>
                  <a:lnTo>
                    <a:pt x="1124" y="2166"/>
                  </a:lnTo>
                  <a:lnTo>
                    <a:pt x="1126" y="2181"/>
                  </a:lnTo>
                  <a:lnTo>
                    <a:pt x="1126" y="2327"/>
                  </a:lnTo>
                  <a:lnTo>
                    <a:pt x="1128" y="2345"/>
                  </a:lnTo>
                  <a:lnTo>
                    <a:pt x="1136" y="2360"/>
                  </a:lnTo>
                  <a:lnTo>
                    <a:pt x="1146" y="2375"/>
                  </a:lnTo>
                  <a:lnTo>
                    <a:pt x="1159" y="2385"/>
                  </a:lnTo>
                  <a:lnTo>
                    <a:pt x="1175" y="2391"/>
                  </a:lnTo>
                  <a:lnTo>
                    <a:pt x="1193" y="2393"/>
                  </a:lnTo>
                  <a:lnTo>
                    <a:pt x="1319" y="2393"/>
                  </a:lnTo>
                  <a:lnTo>
                    <a:pt x="1337" y="2391"/>
                  </a:lnTo>
                  <a:lnTo>
                    <a:pt x="1353" y="2385"/>
                  </a:lnTo>
                  <a:lnTo>
                    <a:pt x="1366" y="2375"/>
                  </a:lnTo>
                  <a:lnTo>
                    <a:pt x="1376" y="2360"/>
                  </a:lnTo>
                  <a:lnTo>
                    <a:pt x="1384" y="2345"/>
                  </a:lnTo>
                  <a:lnTo>
                    <a:pt x="1386" y="2327"/>
                  </a:lnTo>
                  <a:lnTo>
                    <a:pt x="1386" y="2181"/>
                  </a:lnTo>
                  <a:lnTo>
                    <a:pt x="1388" y="2166"/>
                  </a:lnTo>
                  <a:lnTo>
                    <a:pt x="1395" y="2151"/>
                  </a:lnTo>
                  <a:lnTo>
                    <a:pt x="1405" y="2138"/>
                  </a:lnTo>
                  <a:lnTo>
                    <a:pt x="1418" y="2130"/>
                  </a:lnTo>
                  <a:lnTo>
                    <a:pt x="1434" y="2124"/>
                  </a:lnTo>
                  <a:lnTo>
                    <a:pt x="1499" y="2108"/>
                  </a:lnTo>
                  <a:lnTo>
                    <a:pt x="1563" y="2087"/>
                  </a:lnTo>
                  <a:lnTo>
                    <a:pt x="1626" y="2061"/>
                  </a:lnTo>
                  <a:lnTo>
                    <a:pt x="1686" y="2030"/>
                  </a:lnTo>
                  <a:lnTo>
                    <a:pt x="1744" y="1995"/>
                  </a:lnTo>
                  <a:lnTo>
                    <a:pt x="1759" y="1987"/>
                  </a:lnTo>
                  <a:lnTo>
                    <a:pt x="1775" y="1985"/>
                  </a:lnTo>
                  <a:lnTo>
                    <a:pt x="1790" y="1986"/>
                  </a:lnTo>
                  <a:lnTo>
                    <a:pt x="1806" y="1993"/>
                  </a:lnTo>
                  <a:lnTo>
                    <a:pt x="1819" y="2003"/>
                  </a:lnTo>
                  <a:lnTo>
                    <a:pt x="1921" y="2105"/>
                  </a:lnTo>
                  <a:lnTo>
                    <a:pt x="1936" y="2116"/>
                  </a:lnTo>
                  <a:lnTo>
                    <a:pt x="1951" y="2123"/>
                  </a:lnTo>
                  <a:lnTo>
                    <a:pt x="1969" y="2125"/>
                  </a:lnTo>
                  <a:lnTo>
                    <a:pt x="1985" y="2123"/>
                  </a:lnTo>
                  <a:lnTo>
                    <a:pt x="2002" y="2116"/>
                  </a:lnTo>
                  <a:lnTo>
                    <a:pt x="2016" y="2105"/>
                  </a:lnTo>
                  <a:lnTo>
                    <a:pt x="2105" y="2016"/>
                  </a:lnTo>
                  <a:lnTo>
                    <a:pt x="2116" y="2002"/>
                  </a:lnTo>
                  <a:lnTo>
                    <a:pt x="2122" y="1986"/>
                  </a:lnTo>
                  <a:lnTo>
                    <a:pt x="2125" y="1968"/>
                  </a:lnTo>
                  <a:lnTo>
                    <a:pt x="2122" y="1952"/>
                  </a:lnTo>
                  <a:lnTo>
                    <a:pt x="2116" y="1935"/>
                  </a:lnTo>
                  <a:lnTo>
                    <a:pt x="2105" y="1921"/>
                  </a:lnTo>
                  <a:lnTo>
                    <a:pt x="2002" y="1818"/>
                  </a:lnTo>
                  <a:lnTo>
                    <a:pt x="1992" y="1805"/>
                  </a:lnTo>
                  <a:lnTo>
                    <a:pt x="1987" y="1791"/>
                  </a:lnTo>
                  <a:lnTo>
                    <a:pt x="1985" y="1774"/>
                  </a:lnTo>
                  <a:lnTo>
                    <a:pt x="1988" y="1759"/>
                  </a:lnTo>
                  <a:lnTo>
                    <a:pt x="1995" y="1744"/>
                  </a:lnTo>
                  <a:lnTo>
                    <a:pt x="2031" y="1686"/>
                  </a:lnTo>
                  <a:lnTo>
                    <a:pt x="2062" y="1625"/>
                  </a:lnTo>
                  <a:lnTo>
                    <a:pt x="2087" y="1563"/>
                  </a:lnTo>
                  <a:lnTo>
                    <a:pt x="2108" y="1499"/>
                  </a:lnTo>
                  <a:lnTo>
                    <a:pt x="2125" y="1433"/>
                  </a:lnTo>
                  <a:lnTo>
                    <a:pt x="2130" y="1418"/>
                  </a:lnTo>
                  <a:lnTo>
                    <a:pt x="2139" y="1405"/>
                  </a:lnTo>
                  <a:lnTo>
                    <a:pt x="2151" y="1395"/>
                  </a:lnTo>
                  <a:lnTo>
                    <a:pt x="2165" y="1388"/>
                  </a:lnTo>
                  <a:lnTo>
                    <a:pt x="2182" y="1386"/>
                  </a:lnTo>
                  <a:lnTo>
                    <a:pt x="2326" y="1386"/>
                  </a:lnTo>
                  <a:lnTo>
                    <a:pt x="2345" y="1384"/>
                  </a:lnTo>
                  <a:lnTo>
                    <a:pt x="2361" y="1377"/>
                  </a:lnTo>
                  <a:lnTo>
                    <a:pt x="2374" y="1366"/>
                  </a:lnTo>
                  <a:lnTo>
                    <a:pt x="2385" y="1353"/>
                  </a:lnTo>
                  <a:lnTo>
                    <a:pt x="2392" y="1337"/>
                  </a:lnTo>
                  <a:lnTo>
                    <a:pt x="2394" y="1318"/>
                  </a:lnTo>
                  <a:lnTo>
                    <a:pt x="2394" y="1193"/>
                  </a:lnTo>
                  <a:lnTo>
                    <a:pt x="2392" y="1175"/>
                  </a:lnTo>
                  <a:lnTo>
                    <a:pt x="2385" y="1160"/>
                  </a:lnTo>
                  <a:lnTo>
                    <a:pt x="2374" y="1145"/>
                  </a:lnTo>
                  <a:lnTo>
                    <a:pt x="2361" y="1135"/>
                  </a:lnTo>
                  <a:lnTo>
                    <a:pt x="2345" y="1129"/>
                  </a:lnTo>
                  <a:lnTo>
                    <a:pt x="2326" y="1126"/>
                  </a:lnTo>
                  <a:lnTo>
                    <a:pt x="2182" y="1126"/>
                  </a:lnTo>
                  <a:lnTo>
                    <a:pt x="2165" y="1124"/>
                  </a:lnTo>
                  <a:lnTo>
                    <a:pt x="2151" y="1118"/>
                  </a:lnTo>
                  <a:lnTo>
                    <a:pt x="2139" y="1108"/>
                  </a:lnTo>
                  <a:lnTo>
                    <a:pt x="2130" y="1094"/>
                  </a:lnTo>
                  <a:lnTo>
                    <a:pt x="2125" y="1079"/>
                  </a:lnTo>
                  <a:lnTo>
                    <a:pt x="2108" y="1013"/>
                  </a:lnTo>
                  <a:lnTo>
                    <a:pt x="2087" y="949"/>
                  </a:lnTo>
                  <a:lnTo>
                    <a:pt x="2062" y="887"/>
                  </a:lnTo>
                  <a:lnTo>
                    <a:pt x="2031" y="826"/>
                  </a:lnTo>
                  <a:lnTo>
                    <a:pt x="1995" y="768"/>
                  </a:lnTo>
                  <a:lnTo>
                    <a:pt x="1988" y="753"/>
                  </a:lnTo>
                  <a:lnTo>
                    <a:pt x="1985" y="737"/>
                  </a:lnTo>
                  <a:lnTo>
                    <a:pt x="1987" y="721"/>
                  </a:lnTo>
                  <a:lnTo>
                    <a:pt x="1992" y="706"/>
                  </a:lnTo>
                  <a:lnTo>
                    <a:pt x="2002" y="694"/>
                  </a:lnTo>
                  <a:lnTo>
                    <a:pt x="2105" y="590"/>
                  </a:lnTo>
                  <a:lnTo>
                    <a:pt x="2116" y="577"/>
                  </a:lnTo>
                  <a:lnTo>
                    <a:pt x="2122" y="560"/>
                  </a:lnTo>
                  <a:lnTo>
                    <a:pt x="2125" y="544"/>
                  </a:lnTo>
                  <a:lnTo>
                    <a:pt x="2122" y="526"/>
                  </a:lnTo>
                  <a:lnTo>
                    <a:pt x="2116" y="511"/>
                  </a:lnTo>
                  <a:lnTo>
                    <a:pt x="2105" y="496"/>
                  </a:lnTo>
                  <a:lnTo>
                    <a:pt x="2016" y="407"/>
                  </a:lnTo>
                  <a:lnTo>
                    <a:pt x="2002" y="396"/>
                  </a:lnTo>
                  <a:lnTo>
                    <a:pt x="1987" y="389"/>
                  </a:lnTo>
                  <a:lnTo>
                    <a:pt x="1969" y="387"/>
                  </a:lnTo>
                  <a:lnTo>
                    <a:pt x="1951" y="389"/>
                  </a:lnTo>
                  <a:lnTo>
                    <a:pt x="1936" y="396"/>
                  </a:lnTo>
                  <a:lnTo>
                    <a:pt x="1921" y="407"/>
                  </a:lnTo>
                  <a:lnTo>
                    <a:pt x="1819" y="509"/>
                  </a:lnTo>
                  <a:lnTo>
                    <a:pt x="1806" y="519"/>
                  </a:lnTo>
                  <a:lnTo>
                    <a:pt x="1790" y="525"/>
                  </a:lnTo>
                  <a:lnTo>
                    <a:pt x="1775" y="527"/>
                  </a:lnTo>
                  <a:lnTo>
                    <a:pt x="1759" y="524"/>
                  </a:lnTo>
                  <a:lnTo>
                    <a:pt x="1744" y="517"/>
                  </a:lnTo>
                  <a:lnTo>
                    <a:pt x="1686" y="482"/>
                  </a:lnTo>
                  <a:lnTo>
                    <a:pt x="1626" y="451"/>
                  </a:lnTo>
                  <a:lnTo>
                    <a:pt x="1563" y="425"/>
                  </a:lnTo>
                  <a:lnTo>
                    <a:pt x="1499" y="404"/>
                  </a:lnTo>
                  <a:lnTo>
                    <a:pt x="1434" y="388"/>
                  </a:lnTo>
                  <a:lnTo>
                    <a:pt x="1418" y="383"/>
                  </a:lnTo>
                  <a:lnTo>
                    <a:pt x="1405" y="373"/>
                  </a:lnTo>
                  <a:lnTo>
                    <a:pt x="1395" y="361"/>
                  </a:lnTo>
                  <a:lnTo>
                    <a:pt x="1388" y="346"/>
                  </a:lnTo>
                  <a:lnTo>
                    <a:pt x="1386" y="330"/>
                  </a:lnTo>
                  <a:lnTo>
                    <a:pt x="1386" y="185"/>
                  </a:lnTo>
                  <a:lnTo>
                    <a:pt x="1384" y="167"/>
                  </a:lnTo>
                  <a:lnTo>
                    <a:pt x="1376" y="151"/>
                  </a:lnTo>
                  <a:lnTo>
                    <a:pt x="1366" y="138"/>
                  </a:lnTo>
                  <a:lnTo>
                    <a:pt x="1353" y="128"/>
                  </a:lnTo>
                  <a:lnTo>
                    <a:pt x="1337" y="121"/>
                  </a:lnTo>
                  <a:lnTo>
                    <a:pt x="1319" y="118"/>
                  </a:lnTo>
                  <a:lnTo>
                    <a:pt x="1193" y="118"/>
                  </a:lnTo>
                  <a:close/>
                  <a:moveTo>
                    <a:pt x="1193" y="0"/>
                  </a:moveTo>
                  <a:lnTo>
                    <a:pt x="1319" y="0"/>
                  </a:lnTo>
                  <a:lnTo>
                    <a:pt x="1352" y="3"/>
                  </a:lnTo>
                  <a:lnTo>
                    <a:pt x="1384" y="12"/>
                  </a:lnTo>
                  <a:lnTo>
                    <a:pt x="1413" y="25"/>
                  </a:lnTo>
                  <a:lnTo>
                    <a:pt x="1438" y="44"/>
                  </a:lnTo>
                  <a:lnTo>
                    <a:pt x="1460" y="66"/>
                  </a:lnTo>
                  <a:lnTo>
                    <a:pt x="1479" y="91"/>
                  </a:lnTo>
                  <a:lnTo>
                    <a:pt x="1492" y="121"/>
                  </a:lnTo>
                  <a:lnTo>
                    <a:pt x="1501" y="152"/>
                  </a:lnTo>
                  <a:lnTo>
                    <a:pt x="1504" y="185"/>
                  </a:lnTo>
                  <a:lnTo>
                    <a:pt x="1504" y="283"/>
                  </a:lnTo>
                  <a:lnTo>
                    <a:pt x="1573" y="303"/>
                  </a:lnTo>
                  <a:lnTo>
                    <a:pt x="1640" y="328"/>
                  </a:lnTo>
                  <a:lnTo>
                    <a:pt x="1705" y="358"/>
                  </a:lnTo>
                  <a:lnTo>
                    <a:pt x="1768" y="393"/>
                  </a:lnTo>
                  <a:lnTo>
                    <a:pt x="1838" y="323"/>
                  </a:lnTo>
                  <a:lnTo>
                    <a:pt x="1860" y="304"/>
                  </a:lnTo>
                  <a:lnTo>
                    <a:pt x="1885" y="289"/>
                  </a:lnTo>
                  <a:lnTo>
                    <a:pt x="1911" y="278"/>
                  </a:lnTo>
                  <a:lnTo>
                    <a:pt x="1939" y="271"/>
                  </a:lnTo>
                  <a:lnTo>
                    <a:pt x="1969" y="269"/>
                  </a:lnTo>
                  <a:lnTo>
                    <a:pt x="1998" y="271"/>
                  </a:lnTo>
                  <a:lnTo>
                    <a:pt x="2026" y="278"/>
                  </a:lnTo>
                  <a:lnTo>
                    <a:pt x="2053" y="289"/>
                  </a:lnTo>
                  <a:lnTo>
                    <a:pt x="2077" y="304"/>
                  </a:lnTo>
                  <a:lnTo>
                    <a:pt x="2099" y="323"/>
                  </a:lnTo>
                  <a:lnTo>
                    <a:pt x="2189" y="412"/>
                  </a:lnTo>
                  <a:lnTo>
                    <a:pt x="2211" y="438"/>
                  </a:lnTo>
                  <a:lnTo>
                    <a:pt x="2226" y="466"/>
                  </a:lnTo>
                  <a:lnTo>
                    <a:pt x="2237" y="496"/>
                  </a:lnTo>
                  <a:lnTo>
                    <a:pt x="2243" y="527"/>
                  </a:lnTo>
                  <a:lnTo>
                    <a:pt x="2243" y="559"/>
                  </a:lnTo>
                  <a:lnTo>
                    <a:pt x="2237" y="590"/>
                  </a:lnTo>
                  <a:lnTo>
                    <a:pt x="2226" y="620"/>
                  </a:lnTo>
                  <a:lnTo>
                    <a:pt x="2211" y="649"/>
                  </a:lnTo>
                  <a:lnTo>
                    <a:pt x="2189" y="674"/>
                  </a:lnTo>
                  <a:lnTo>
                    <a:pt x="2119" y="743"/>
                  </a:lnTo>
                  <a:lnTo>
                    <a:pt x="2154" y="806"/>
                  </a:lnTo>
                  <a:lnTo>
                    <a:pt x="2184" y="873"/>
                  </a:lnTo>
                  <a:lnTo>
                    <a:pt x="2208" y="939"/>
                  </a:lnTo>
                  <a:lnTo>
                    <a:pt x="2229" y="1008"/>
                  </a:lnTo>
                  <a:lnTo>
                    <a:pt x="2326" y="1008"/>
                  </a:lnTo>
                  <a:lnTo>
                    <a:pt x="2361" y="1011"/>
                  </a:lnTo>
                  <a:lnTo>
                    <a:pt x="2392" y="1019"/>
                  </a:lnTo>
                  <a:lnTo>
                    <a:pt x="2420" y="1034"/>
                  </a:lnTo>
                  <a:lnTo>
                    <a:pt x="2446" y="1051"/>
                  </a:lnTo>
                  <a:lnTo>
                    <a:pt x="2469" y="1073"/>
                  </a:lnTo>
                  <a:lnTo>
                    <a:pt x="2486" y="1100"/>
                  </a:lnTo>
                  <a:lnTo>
                    <a:pt x="2501" y="1129"/>
                  </a:lnTo>
                  <a:lnTo>
                    <a:pt x="2509" y="1160"/>
                  </a:lnTo>
                  <a:lnTo>
                    <a:pt x="2512" y="1193"/>
                  </a:lnTo>
                  <a:lnTo>
                    <a:pt x="2512" y="1318"/>
                  </a:lnTo>
                  <a:lnTo>
                    <a:pt x="2509" y="1353"/>
                  </a:lnTo>
                  <a:lnTo>
                    <a:pt x="2501" y="1384"/>
                  </a:lnTo>
                  <a:lnTo>
                    <a:pt x="2486" y="1412"/>
                  </a:lnTo>
                  <a:lnTo>
                    <a:pt x="2469" y="1438"/>
                  </a:lnTo>
                  <a:lnTo>
                    <a:pt x="2446" y="1461"/>
                  </a:lnTo>
                  <a:lnTo>
                    <a:pt x="2420" y="1478"/>
                  </a:lnTo>
                  <a:lnTo>
                    <a:pt x="2392" y="1493"/>
                  </a:lnTo>
                  <a:lnTo>
                    <a:pt x="2361" y="1501"/>
                  </a:lnTo>
                  <a:lnTo>
                    <a:pt x="2326" y="1504"/>
                  </a:lnTo>
                  <a:lnTo>
                    <a:pt x="2229" y="1504"/>
                  </a:lnTo>
                  <a:lnTo>
                    <a:pt x="2208" y="1572"/>
                  </a:lnTo>
                  <a:lnTo>
                    <a:pt x="2184" y="1640"/>
                  </a:lnTo>
                  <a:lnTo>
                    <a:pt x="2154" y="1705"/>
                  </a:lnTo>
                  <a:lnTo>
                    <a:pt x="2119" y="1769"/>
                  </a:lnTo>
                  <a:lnTo>
                    <a:pt x="2189" y="1838"/>
                  </a:lnTo>
                  <a:lnTo>
                    <a:pt x="2211" y="1864"/>
                  </a:lnTo>
                  <a:lnTo>
                    <a:pt x="2226" y="1891"/>
                  </a:lnTo>
                  <a:lnTo>
                    <a:pt x="2237" y="1922"/>
                  </a:lnTo>
                  <a:lnTo>
                    <a:pt x="2243" y="1953"/>
                  </a:lnTo>
                  <a:lnTo>
                    <a:pt x="2243" y="1985"/>
                  </a:lnTo>
                  <a:lnTo>
                    <a:pt x="2237" y="2016"/>
                  </a:lnTo>
                  <a:lnTo>
                    <a:pt x="2226" y="2046"/>
                  </a:lnTo>
                  <a:lnTo>
                    <a:pt x="2211" y="2074"/>
                  </a:lnTo>
                  <a:lnTo>
                    <a:pt x="2189" y="2100"/>
                  </a:lnTo>
                  <a:lnTo>
                    <a:pt x="2099" y="2189"/>
                  </a:lnTo>
                  <a:lnTo>
                    <a:pt x="2074" y="2210"/>
                  </a:lnTo>
                  <a:lnTo>
                    <a:pt x="2046" y="2226"/>
                  </a:lnTo>
                  <a:lnTo>
                    <a:pt x="2015" y="2237"/>
                  </a:lnTo>
                  <a:lnTo>
                    <a:pt x="1984" y="2242"/>
                  </a:lnTo>
                  <a:lnTo>
                    <a:pt x="1953" y="2242"/>
                  </a:lnTo>
                  <a:lnTo>
                    <a:pt x="1921" y="2237"/>
                  </a:lnTo>
                  <a:lnTo>
                    <a:pt x="1892" y="2226"/>
                  </a:lnTo>
                  <a:lnTo>
                    <a:pt x="1863" y="2210"/>
                  </a:lnTo>
                  <a:lnTo>
                    <a:pt x="1838" y="2189"/>
                  </a:lnTo>
                  <a:lnTo>
                    <a:pt x="1768" y="2120"/>
                  </a:lnTo>
                  <a:lnTo>
                    <a:pt x="1705" y="2154"/>
                  </a:lnTo>
                  <a:lnTo>
                    <a:pt x="1640" y="2184"/>
                  </a:lnTo>
                  <a:lnTo>
                    <a:pt x="1573" y="2209"/>
                  </a:lnTo>
                  <a:lnTo>
                    <a:pt x="1504" y="2229"/>
                  </a:lnTo>
                  <a:lnTo>
                    <a:pt x="1504" y="2327"/>
                  </a:lnTo>
                  <a:lnTo>
                    <a:pt x="1501" y="2360"/>
                  </a:lnTo>
                  <a:lnTo>
                    <a:pt x="1492" y="2391"/>
                  </a:lnTo>
                  <a:lnTo>
                    <a:pt x="1479" y="2420"/>
                  </a:lnTo>
                  <a:lnTo>
                    <a:pt x="1460" y="2446"/>
                  </a:lnTo>
                  <a:lnTo>
                    <a:pt x="1438" y="2468"/>
                  </a:lnTo>
                  <a:lnTo>
                    <a:pt x="1413" y="2487"/>
                  </a:lnTo>
                  <a:lnTo>
                    <a:pt x="1384" y="2500"/>
                  </a:lnTo>
                  <a:lnTo>
                    <a:pt x="1352" y="2509"/>
                  </a:lnTo>
                  <a:lnTo>
                    <a:pt x="1319" y="2511"/>
                  </a:lnTo>
                  <a:lnTo>
                    <a:pt x="1193" y="2511"/>
                  </a:lnTo>
                  <a:lnTo>
                    <a:pt x="1160" y="2509"/>
                  </a:lnTo>
                  <a:lnTo>
                    <a:pt x="1129" y="2500"/>
                  </a:lnTo>
                  <a:lnTo>
                    <a:pt x="1099" y="2487"/>
                  </a:lnTo>
                  <a:lnTo>
                    <a:pt x="1074" y="2468"/>
                  </a:lnTo>
                  <a:lnTo>
                    <a:pt x="1052" y="2446"/>
                  </a:lnTo>
                  <a:lnTo>
                    <a:pt x="1033" y="2420"/>
                  </a:lnTo>
                  <a:lnTo>
                    <a:pt x="1020" y="2391"/>
                  </a:lnTo>
                  <a:lnTo>
                    <a:pt x="1011" y="2360"/>
                  </a:lnTo>
                  <a:lnTo>
                    <a:pt x="1008" y="2327"/>
                  </a:lnTo>
                  <a:lnTo>
                    <a:pt x="1008" y="2229"/>
                  </a:lnTo>
                  <a:lnTo>
                    <a:pt x="939" y="2209"/>
                  </a:lnTo>
                  <a:lnTo>
                    <a:pt x="872" y="2184"/>
                  </a:lnTo>
                  <a:lnTo>
                    <a:pt x="807" y="2154"/>
                  </a:lnTo>
                  <a:lnTo>
                    <a:pt x="744" y="2120"/>
                  </a:lnTo>
                  <a:lnTo>
                    <a:pt x="674" y="2188"/>
                  </a:lnTo>
                  <a:lnTo>
                    <a:pt x="649" y="2210"/>
                  </a:lnTo>
                  <a:lnTo>
                    <a:pt x="620" y="2226"/>
                  </a:lnTo>
                  <a:lnTo>
                    <a:pt x="590" y="2237"/>
                  </a:lnTo>
                  <a:lnTo>
                    <a:pt x="560" y="2242"/>
                  </a:lnTo>
                  <a:lnTo>
                    <a:pt x="528" y="2242"/>
                  </a:lnTo>
                  <a:lnTo>
                    <a:pt x="497" y="2237"/>
                  </a:lnTo>
                  <a:lnTo>
                    <a:pt x="466" y="2226"/>
                  </a:lnTo>
                  <a:lnTo>
                    <a:pt x="438" y="2210"/>
                  </a:lnTo>
                  <a:lnTo>
                    <a:pt x="413" y="2188"/>
                  </a:lnTo>
                  <a:lnTo>
                    <a:pt x="323" y="2100"/>
                  </a:lnTo>
                  <a:lnTo>
                    <a:pt x="302" y="2074"/>
                  </a:lnTo>
                  <a:lnTo>
                    <a:pt x="286" y="2046"/>
                  </a:lnTo>
                  <a:lnTo>
                    <a:pt x="275" y="2016"/>
                  </a:lnTo>
                  <a:lnTo>
                    <a:pt x="270" y="1984"/>
                  </a:lnTo>
                  <a:lnTo>
                    <a:pt x="270" y="1953"/>
                  </a:lnTo>
                  <a:lnTo>
                    <a:pt x="275" y="1922"/>
                  </a:lnTo>
                  <a:lnTo>
                    <a:pt x="286" y="1891"/>
                  </a:lnTo>
                  <a:lnTo>
                    <a:pt x="302" y="1864"/>
                  </a:lnTo>
                  <a:lnTo>
                    <a:pt x="323" y="1838"/>
                  </a:lnTo>
                  <a:lnTo>
                    <a:pt x="393" y="1769"/>
                  </a:lnTo>
                  <a:lnTo>
                    <a:pt x="358" y="1705"/>
                  </a:lnTo>
                  <a:lnTo>
                    <a:pt x="328" y="1640"/>
                  </a:lnTo>
                  <a:lnTo>
                    <a:pt x="304" y="1572"/>
                  </a:lnTo>
                  <a:lnTo>
                    <a:pt x="283" y="1504"/>
                  </a:lnTo>
                  <a:lnTo>
                    <a:pt x="185" y="1504"/>
                  </a:lnTo>
                  <a:lnTo>
                    <a:pt x="152" y="1501"/>
                  </a:lnTo>
                  <a:lnTo>
                    <a:pt x="120" y="1493"/>
                  </a:lnTo>
                  <a:lnTo>
                    <a:pt x="92" y="1478"/>
                  </a:lnTo>
                  <a:lnTo>
                    <a:pt x="66" y="1461"/>
                  </a:lnTo>
                  <a:lnTo>
                    <a:pt x="43" y="1438"/>
                  </a:lnTo>
                  <a:lnTo>
                    <a:pt x="25" y="1412"/>
                  </a:lnTo>
                  <a:lnTo>
                    <a:pt x="12" y="1384"/>
                  </a:lnTo>
                  <a:lnTo>
                    <a:pt x="3" y="1353"/>
                  </a:lnTo>
                  <a:lnTo>
                    <a:pt x="0" y="1318"/>
                  </a:lnTo>
                  <a:lnTo>
                    <a:pt x="0" y="1193"/>
                  </a:lnTo>
                  <a:lnTo>
                    <a:pt x="3" y="1160"/>
                  </a:lnTo>
                  <a:lnTo>
                    <a:pt x="12" y="1129"/>
                  </a:lnTo>
                  <a:lnTo>
                    <a:pt x="25" y="1100"/>
                  </a:lnTo>
                  <a:lnTo>
                    <a:pt x="43" y="1073"/>
                  </a:lnTo>
                  <a:lnTo>
                    <a:pt x="66" y="1051"/>
                  </a:lnTo>
                  <a:lnTo>
                    <a:pt x="92" y="1034"/>
                  </a:lnTo>
                  <a:lnTo>
                    <a:pt x="120" y="1019"/>
                  </a:lnTo>
                  <a:lnTo>
                    <a:pt x="152" y="1011"/>
                  </a:lnTo>
                  <a:lnTo>
                    <a:pt x="185" y="1008"/>
                  </a:lnTo>
                  <a:lnTo>
                    <a:pt x="283" y="1008"/>
                  </a:lnTo>
                  <a:lnTo>
                    <a:pt x="304" y="939"/>
                  </a:lnTo>
                  <a:lnTo>
                    <a:pt x="328" y="873"/>
                  </a:lnTo>
                  <a:lnTo>
                    <a:pt x="358" y="806"/>
                  </a:lnTo>
                  <a:lnTo>
                    <a:pt x="393" y="743"/>
                  </a:lnTo>
                  <a:lnTo>
                    <a:pt x="323" y="674"/>
                  </a:lnTo>
                  <a:lnTo>
                    <a:pt x="302" y="649"/>
                  </a:lnTo>
                  <a:lnTo>
                    <a:pt x="286" y="620"/>
                  </a:lnTo>
                  <a:lnTo>
                    <a:pt x="275" y="590"/>
                  </a:lnTo>
                  <a:lnTo>
                    <a:pt x="270" y="559"/>
                  </a:lnTo>
                  <a:lnTo>
                    <a:pt x="270" y="527"/>
                  </a:lnTo>
                  <a:lnTo>
                    <a:pt x="275" y="496"/>
                  </a:lnTo>
                  <a:lnTo>
                    <a:pt x="286" y="466"/>
                  </a:lnTo>
                  <a:lnTo>
                    <a:pt x="302" y="438"/>
                  </a:lnTo>
                  <a:lnTo>
                    <a:pt x="323" y="412"/>
                  </a:lnTo>
                  <a:lnTo>
                    <a:pt x="413" y="323"/>
                  </a:lnTo>
                  <a:lnTo>
                    <a:pt x="435" y="304"/>
                  </a:lnTo>
                  <a:lnTo>
                    <a:pt x="459" y="289"/>
                  </a:lnTo>
                  <a:lnTo>
                    <a:pt x="486" y="278"/>
                  </a:lnTo>
                  <a:lnTo>
                    <a:pt x="514" y="271"/>
                  </a:lnTo>
                  <a:lnTo>
                    <a:pt x="543" y="269"/>
                  </a:lnTo>
                  <a:lnTo>
                    <a:pt x="573" y="271"/>
                  </a:lnTo>
                  <a:lnTo>
                    <a:pt x="600" y="278"/>
                  </a:lnTo>
                  <a:lnTo>
                    <a:pt x="627" y="289"/>
                  </a:lnTo>
                  <a:lnTo>
                    <a:pt x="652" y="304"/>
                  </a:lnTo>
                  <a:lnTo>
                    <a:pt x="674" y="323"/>
                  </a:lnTo>
                  <a:lnTo>
                    <a:pt x="744" y="393"/>
                  </a:lnTo>
                  <a:lnTo>
                    <a:pt x="807" y="358"/>
                  </a:lnTo>
                  <a:lnTo>
                    <a:pt x="872" y="328"/>
                  </a:lnTo>
                  <a:lnTo>
                    <a:pt x="939" y="303"/>
                  </a:lnTo>
                  <a:lnTo>
                    <a:pt x="1008" y="283"/>
                  </a:lnTo>
                  <a:lnTo>
                    <a:pt x="1008" y="185"/>
                  </a:lnTo>
                  <a:lnTo>
                    <a:pt x="1011" y="152"/>
                  </a:lnTo>
                  <a:lnTo>
                    <a:pt x="1020" y="121"/>
                  </a:lnTo>
                  <a:lnTo>
                    <a:pt x="1033" y="91"/>
                  </a:lnTo>
                  <a:lnTo>
                    <a:pt x="1052" y="66"/>
                  </a:lnTo>
                  <a:lnTo>
                    <a:pt x="1074" y="44"/>
                  </a:lnTo>
                  <a:lnTo>
                    <a:pt x="1099" y="25"/>
                  </a:lnTo>
                  <a:lnTo>
                    <a:pt x="1129" y="12"/>
                  </a:lnTo>
                  <a:lnTo>
                    <a:pt x="1160" y="3"/>
                  </a:lnTo>
                  <a:lnTo>
                    <a:pt x="1193"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sp>
          <p:nvSpPr>
            <p:cNvPr id="18" name="Freeform 7"/>
            <p:cNvSpPr>
              <a:spLocks/>
            </p:cNvSpPr>
            <p:nvPr/>
          </p:nvSpPr>
          <p:spPr bwMode="auto">
            <a:xfrm>
              <a:off x="1838" y="2090"/>
              <a:ext cx="41" cy="28"/>
            </a:xfrm>
            <a:custGeom>
              <a:avLst/>
              <a:gdLst>
                <a:gd name="T0" fmla="*/ 60 w 245"/>
                <a:gd name="T1" fmla="*/ 0 h 168"/>
                <a:gd name="T2" fmla="*/ 76 w 245"/>
                <a:gd name="T3" fmla="*/ 3 h 168"/>
                <a:gd name="T4" fmla="*/ 123 w 245"/>
                <a:gd name="T5" fmla="*/ 17 h 168"/>
                <a:gd name="T6" fmla="*/ 169 w 245"/>
                <a:gd name="T7" fmla="*/ 35 h 168"/>
                <a:gd name="T8" fmla="*/ 213 w 245"/>
                <a:gd name="T9" fmla="*/ 56 h 168"/>
                <a:gd name="T10" fmla="*/ 226 w 245"/>
                <a:gd name="T11" fmla="*/ 66 h 168"/>
                <a:gd name="T12" fmla="*/ 236 w 245"/>
                <a:gd name="T13" fmla="*/ 77 h 168"/>
                <a:gd name="T14" fmla="*/ 242 w 245"/>
                <a:gd name="T15" fmla="*/ 91 h 168"/>
                <a:gd name="T16" fmla="*/ 245 w 245"/>
                <a:gd name="T17" fmla="*/ 105 h 168"/>
                <a:gd name="T18" fmla="*/ 244 w 245"/>
                <a:gd name="T19" fmla="*/ 121 h 168"/>
                <a:gd name="T20" fmla="*/ 238 w 245"/>
                <a:gd name="T21" fmla="*/ 135 h 168"/>
                <a:gd name="T22" fmla="*/ 229 w 245"/>
                <a:gd name="T23" fmla="*/ 149 h 168"/>
                <a:gd name="T24" fmla="*/ 216 w 245"/>
                <a:gd name="T25" fmla="*/ 159 h 168"/>
                <a:gd name="T26" fmla="*/ 202 w 245"/>
                <a:gd name="T27" fmla="*/ 166 h 168"/>
                <a:gd name="T28" fmla="*/ 185 w 245"/>
                <a:gd name="T29" fmla="*/ 168 h 168"/>
                <a:gd name="T30" fmla="*/ 172 w 245"/>
                <a:gd name="T31" fmla="*/ 166 h 168"/>
                <a:gd name="T32" fmla="*/ 159 w 245"/>
                <a:gd name="T33" fmla="*/ 162 h 168"/>
                <a:gd name="T34" fmla="*/ 103 w 245"/>
                <a:gd name="T35" fmla="*/ 136 h 168"/>
                <a:gd name="T36" fmla="*/ 43 w 245"/>
                <a:gd name="T37" fmla="*/ 116 h 168"/>
                <a:gd name="T38" fmla="*/ 29 w 245"/>
                <a:gd name="T39" fmla="*/ 110 h 168"/>
                <a:gd name="T40" fmla="*/ 17 w 245"/>
                <a:gd name="T41" fmla="*/ 100 h 168"/>
                <a:gd name="T42" fmla="*/ 8 w 245"/>
                <a:gd name="T43" fmla="*/ 88 h 168"/>
                <a:gd name="T44" fmla="*/ 2 w 245"/>
                <a:gd name="T45" fmla="*/ 73 h 168"/>
                <a:gd name="T46" fmla="*/ 0 w 245"/>
                <a:gd name="T47" fmla="*/ 59 h 168"/>
                <a:gd name="T48" fmla="*/ 3 w 245"/>
                <a:gd name="T49" fmla="*/ 43 h 168"/>
                <a:gd name="T50" fmla="*/ 9 w 245"/>
                <a:gd name="T51" fmla="*/ 28 h 168"/>
                <a:gd name="T52" fmla="*/ 19 w 245"/>
                <a:gd name="T53" fmla="*/ 17 h 168"/>
                <a:gd name="T54" fmla="*/ 31 w 245"/>
                <a:gd name="T55" fmla="*/ 7 h 168"/>
                <a:gd name="T56" fmla="*/ 45 w 245"/>
                <a:gd name="T57" fmla="*/ 2 h 168"/>
                <a:gd name="T58" fmla="*/ 60 w 245"/>
                <a:gd name="T59"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5" h="168">
                  <a:moveTo>
                    <a:pt x="60" y="0"/>
                  </a:moveTo>
                  <a:lnTo>
                    <a:pt x="76" y="3"/>
                  </a:lnTo>
                  <a:lnTo>
                    <a:pt x="123" y="17"/>
                  </a:lnTo>
                  <a:lnTo>
                    <a:pt x="169" y="35"/>
                  </a:lnTo>
                  <a:lnTo>
                    <a:pt x="213" y="56"/>
                  </a:lnTo>
                  <a:lnTo>
                    <a:pt x="226" y="66"/>
                  </a:lnTo>
                  <a:lnTo>
                    <a:pt x="236" y="77"/>
                  </a:lnTo>
                  <a:lnTo>
                    <a:pt x="242" y="91"/>
                  </a:lnTo>
                  <a:lnTo>
                    <a:pt x="245" y="105"/>
                  </a:lnTo>
                  <a:lnTo>
                    <a:pt x="244" y="121"/>
                  </a:lnTo>
                  <a:lnTo>
                    <a:pt x="238" y="135"/>
                  </a:lnTo>
                  <a:lnTo>
                    <a:pt x="229" y="149"/>
                  </a:lnTo>
                  <a:lnTo>
                    <a:pt x="216" y="159"/>
                  </a:lnTo>
                  <a:lnTo>
                    <a:pt x="202" y="166"/>
                  </a:lnTo>
                  <a:lnTo>
                    <a:pt x="185" y="168"/>
                  </a:lnTo>
                  <a:lnTo>
                    <a:pt x="172" y="166"/>
                  </a:lnTo>
                  <a:lnTo>
                    <a:pt x="159" y="162"/>
                  </a:lnTo>
                  <a:lnTo>
                    <a:pt x="103" y="136"/>
                  </a:lnTo>
                  <a:lnTo>
                    <a:pt x="43" y="116"/>
                  </a:lnTo>
                  <a:lnTo>
                    <a:pt x="29" y="110"/>
                  </a:lnTo>
                  <a:lnTo>
                    <a:pt x="17" y="100"/>
                  </a:lnTo>
                  <a:lnTo>
                    <a:pt x="8" y="88"/>
                  </a:lnTo>
                  <a:lnTo>
                    <a:pt x="2" y="73"/>
                  </a:lnTo>
                  <a:lnTo>
                    <a:pt x="0" y="59"/>
                  </a:lnTo>
                  <a:lnTo>
                    <a:pt x="3" y="43"/>
                  </a:lnTo>
                  <a:lnTo>
                    <a:pt x="9" y="28"/>
                  </a:lnTo>
                  <a:lnTo>
                    <a:pt x="19" y="17"/>
                  </a:lnTo>
                  <a:lnTo>
                    <a:pt x="31" y="7"/>
                  </a:lnTo>
                  <a:lnTo>
                    <a:pt x="45" y="2"/>
                  </a:lnTo>
                  <a:lnTo>
                    <a:pt x="60"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sp>
          <p:nvSpPr>
            <p:cNvPr id="19" name="Freeform 8"/>
            <p:cNvSpPr>
              <a:spLocks/>
            </p:cNvSpPr>
            <p:nvPr/>
          </p:nvSpPr>
          <p:spPr bwMode="auto">
            <a:xfrm>
              <a:off x="1693" y="2152"/>
              <a:ext cx="28" cy="47"/>
            </a:xfrm>
            <a:custGeom>
              <a:avLst/>
              <a:gdLst>
                <a:gd name="T0" fmla="*/ 105 w 169"/>
                <a:gd name="T1" fmla="*/ 0 h 281"/>
                <a:gd name="T2" fmla="*/ 121 w 169"/>
                <a:gd name="T3" fmla="*/ 1 h 281"/>
                <a:gd name="T4" fmla="*/ 136 w 169"/>
                <a:gd name="T5" fmla="*/ 5 h 281"/>
                <a:gd name="T6" fmla="*/ 149 w 169"/>
                <a:gd name="T7" fmla="*/ 14 h 281"/>
                <a:gd name="T8" fmla="*/ 159 w 169"/>
                <a:gd name="T9" fmla="*/ 25 h 281"/>
                <a:gd name="T10" fmla="*/ 166 w 169"/>
                <a:gd name="T11" fmla="*/ 39 h 281"/>
                <a:gd name="T12" fmla="*/ 169 w 169"/>
                <a:gd name="T13" fmla="*/ 53 h 281"/>
                <a:gd name="T14" fmla="*/ 169 w 169"/>
                <a:gd name="T15" fmla="*/ 68 h 281"/>
                <a:gd name="T16" fmla="*/ 165 w 169"/>
                <a:gd name="T17" fmla="*/ 84 h 281"/>
                <a:gd name="T18" fmla="*/ 145 w 169"/>
                <a:gd name="T19" fmla="*/ 132 h 281"/>
                <a:gd name="T20" fmla="*/ 130 w 169"/>
                <a:gd name="T21" fmla="*/ 182 h 281"/>
                <a:gd name="T22" fmla="*/ 117 w 169"/>
                <a:gd name="T23" fmla="*/ 233 h 281"/>
                <a:gd name="T24" fmla="*/ 112 w 169"/>
                <a:gd name="T25" fmla="*/ 248 h 281"/>
                <a:gd name="T26" fmla="*/ 103 w 169"/>
                <a:gd name="T27" fmla="*/ 263 h 281"/>
                <a:gd name="T28" fmla="*/ 91 w 169"/>
                <a:gd name="T29" fmla="*/ 272 h 281"/>
                <a:gd name="T30" fmla="*/ 75 w 169"/>
                <a:gd name="T31" fmla="*/ 279 h 281"/>
                <a:gd name="T32" fmla="*/ 60 w 169"/>
                <a:gd name="T33" fmla="*/ 281 h 281"/>
                <a:gd name="T34" fmla="*/ 54 w 169"/>
                <a:gd name="T35" fmla="*/ 281 h 281"/>
                <a:gd name="T36" fmla="*/ 49 w 169"/>
                <a:gd name="T37" fmla="*/ 280 h 281"/>
                <a:gd name="T38" fmla="*/ 31 w 169"/>
                <a:gd name="T39" fmla="*/ 274 h 281"/>
                <a:gd name="T40" fmla="*/ 17 w 169"/>
                <a:gd name="T41" fmla="*/ 263 h 281"/>
                <a:gd name="T42" fmla="*/ 6 w 169"/>
                <a:gd name="T43" fmla="*/ 248 h 281"/>
                <a:gd name="T44" fmla="*/ 0 w 169"/>
                <a:gd name="T45" fmla="*/ 231 h 281"/>
                <a:gd name="T46" fmla="*/ 2 w 169"/>
                <a:gd name="T47" fmla="*/ 212 h 281"/>
                <a:gd name="T48" fmla="*/ 15 w 169"/>
                <a:gd name="T49" fmla="*/ 151 h 281"/>
                <a:gd name="T50" fmla="*/ 34 w 169"/>
                <a:gd name="T51" fmla="*/ 91 h 281"/>
                <a:gd name="T52" fmla="*/ 58 w 169"/>
                <a:gd name="T53" fmla="*/ 34 h 281"/>
                <a:gd name="T54" fmla="*/ 66 w 169"/>
                <a:gd name="T55" fmla="*/ 21 h 281"/>
                <a:gd name="T56" fmla="*/ 78 w 169"/>
                <a:gd name="T57" fmla="*/ 11 h 281"/>
                <a:gd name="T58" fmla="*/ 91 w 169"/>
                <a:gd name="T59" fmla="*/ 3 h 281"/>
                <a:gd name="T60" fmla="*/ 105 w 169"/>
                <a:gd name="T61"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281">
                  <a:moveTo>
                    <a:pt x="105" y="0"/>
                  </a:moveTo>
                  <a:lnTo>
                    <a:pt x="121" y="1"/>
                  </a:lnTo>
                  <a:lnTo>
                    <a:pt x="136" y="5"/>
                  </a:lnTo>
                  <a:lnTo>
                    <a:pt x="149" y="14"/>
                  </a:lnTo>
                  <a:lnTo>
                    <a:pt x="159" y="25"/>
                  </a:lnTo>
                  <a:lnTo>
                    <a:pt x="166" y="39"/>
                  </a:lnTo>
                  <a:lnTo>
                    <a:pt x="169" y="53"/>
                  </a:lnTo>
                  <a:lnTo>
                    <a:pt x="169" y="68"/>
                  </a:lnTo>
                  <a:lnTo>
                    <a:pt x="165" y="84"/>
                  </a:lnTo>
                  <a:lnTo>
                    <a:pt x="145" y="132"/>
                  </a:lnTo>
                  <a:lnTo>
                    <a:pt x="130" y="182"/>
                  </a:lnTo>
                  <a:lnTo>
                    <a:pt x="117" y="233"/>
                  </a:lnTo>
                  <a:lnTo>
                    <a:pt x="112" y="248"/>
                  </a:lnTo>
                  <a:lnTo>
                    <a:pt x="103" y="263"/>
                  </a:lnTo>
                  <a:lnTo>
                    <a:pt x="91" y="272"/>
                  </a:lnTo>
                  <a:lnTo>
                    <a:pt x="75" y="279"/>
                  </a:lnTo>
                  <a:lnTo>
                    <a:pt x="60" y="281"/>
                  </a:lnTo>
                  <a:lnTo>
                    <a:pt x="54" y="281"/>
                  </a:lnTo>
                  <a:lnTo>
                    <a:pt x="49" y="280"/>
                  </a:lnTo>
                  <a:lnTo>
                    <a:pt x="31" y="274"/>
                  </a:lnTo>
                  <a:lnTo>
                    <a:pt x="17" y="263"/>
                  </a:lnTo>
                  <a:lnTo>
                    <a:pt x="6" y="248"/>
                  </a:lnTo>
                  <a:lnTo>
                    <a:pt x="0" y="231"/>
                  </a:lnTo>
                  <a:lnTo>
                    <a:pt x="2" y="212"/>
                  </a:lnTo>
                  <a:lnTo>
                    <a:pt x="15" y="151"/>
                  </a:lnTo>
                  <a:lnTo>
                    <a:pt x="34" y="91"/>
                  </a:lnTo>
                  <a:lnTo>
                    <a:pt x="58" y="34"/>
                  </a:lnTo>
                  <a:lnTo>
                    <a:pt x="66" y="21"/>
                  </a:lnTo>
                  <a:lnTo>
                    <a:pt x="78" y="11"/>
                  </a:lnTo>
                  <a:lnTo>
                    <a:pt x="91" y="3"/>
                  </a:lnTo>
                  <a:lnTo>
                    <a:pt x="105"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sp>
          <p:nvSpPr>
            <p:cNvPr id="20" name="Freeform 9"/>
            <p:cNvSpPr>
              <a:spLocks/>
            </p:cNvSpPr>
            <p:nvPr/>
          </p:nvSpPr>
          <p:spPr bwMode="auto">
            <a:xfrm>
              <a:off x="1693" y="2222"/>
              <a:ext cx="112" cy="112"/>
            </a:xfrm>
            <a:custGeom>
              <a:avLst/>
              <a:gdLst>
                <a:gd name="T0" fmla="*/ 66 w 672"/>
                <a:gd name="T1" fmla="*/ 0 h 672"/>
                <a:gd name="T2" fmla="*/ 83 w 672"/>
                <a:gd name="T3" fmla="*/ 4 h 672"/>
                <a:gd name="T4" fmla="*/ 98 w 672"/>
                <a:gd name="T5" fmla="*/ 15 h 672"/>
                <a:gd name="T6" fmla="*/ 109 w 672"/>
                <a:gd name="T7" fmla="*/ 30 h 672"/>
                <a:gd name="T8" fmla="*/ 115 w 672"/>
                <a:gd name="T9" fmla="*/ 47 h 672"/>
                <a:gd name="T10" fmla="*/ 131 w 672"/>
                <a:gd name="T11" fmla="*/ 110 h 672"/>
                <a:gd name="T12" fmla="*/ 152 w 672"/>
                <a:gd name="T13" fmla="*/ 171 h 672"/>
                <a:gd name="T14" fmla="*/ 178 w 672"/>
                <a:gd name="T15" fmla="*/ 228 h 672"/>
                <a:gd name="T16" fmla="*/ 211 w 672"/>
                <a:gd name="T17" fmla="*/ 282 h 672"/>
                <a:gd name="T18" fmla="*/ 249 w 672"/>
                <a:gd name="T19" fmla="*/ 333 h 672"/>
                <a:gd name="T20" fmla="*/ 291 w 672"/>
                <a:gd name="T21" fmla="*/ 380 h 672"/>
                <a:gd name="T22" fmla="*/ 337 w 672"/>
                <a:gd name="T23" fmla="*/ 423 h 672"/>
                <a:gd name="T24" fmla="*/ 388 w 672"/>
                <a:gd name="T25" fmla="*/ 460 h 672"/>
                <a:gd name="T26" fmla="*/ 442 w 672"/>
                <a:gd name="T27" fmla="*/ 492 h 672"/>
                <a:gd name="T28" fmla="*/ 501 w 672"/>
                <a:gd name="T29" fmla="*/ 520 h 672"/>
                <a:gd name="T30" fmla="*/ 560 w 672"/>
                <a:gd name="T31" fmla="*/ 541 h 672"/>
                <a:gd name="T32" fmla="*/ 624 w 672"/>
                <a:gd name="T33" fmla="*/ 555 h 672"/>
                <a:gd name="T34" fmla="*/ 642 w 672"/>
                <a:gd name="T35" fmla="*/ 562 h 672"/>
                <a:gd name="T36" fmla="*/ 656 w 672"/>
                <a:gd name="T37" fmla="*/ 573 h 672"/>
                <a:gd name="T38" fmla="*/ 666 w 672"/>
                <a:gd name="T39" fmla="*/ 588 h 672"/>
                <a:gd name="T40" fmla="*/ 672 w 672"/>
                <a:gd name="T41" fmla="*/ 605 h 672"/>
                <a:gd name="T42" fmla="*/ 672 w 672"/>
                <a:gd name="T43" fmla="*/ 625 h 672"/>
                <a:gd name="T44" fmla="*/ 666 w 672"/>
                <a:gd name="T45" fmla="*/ 640 h 672"/>
                <a:gd name="T46" fmla="*/ 656 w 672"/>
                <a:gd name="T47" fmla="*/ 653 h 672"/>
                <a:gd name="T48" fmla="*/ 644 w 672"/>
                <a:gd name="T49" fmla="*/ 663 h 672"/>
                <a:gd name="T50" fmla="*/ 630 w 672"/>
                <a:gd name="T51" fmla="*/ 670 h 672"/>
                <a:gd name="T52" fmla="*/ 613 w 672"/>
                <a:gd name="T53" fmla="*/ 672 h 672"/>
                <a:gd name="T54" fmla="*/ 602 w 672"/>
                <a:gd name="T55" fmla="*/ 672 h 672"/>
                <a:gd name="T56" fmla="*/ 538 w 672"/>
                <a:gd name="T57" fmla="*/ 657 h 672"/>
                <a:gd name="T58" fmla="*/ 476 w 672"/>
                <a:gd name="T59" fmla="*/ 637 h 672"/>
                <a:gd name="T60" fmla="*/ 417 w 672"/>
                <a:gd name="T61" fmla="*/ 611 h 672"/>
                <a:gd name="T62" fmla="*/ 359 w 672"/>
                <a:gd name="T63" fmla="*/ 580 h 672"/>
                <a:gd name="T64" fmla="*/ 305 w 672"/>
                <a:gd name="T65" fmla="*/ 546 h 672"/>
                <a:gd name="T66" fmla="*/ 254 w 672"/>
                <a:gd name="T67" fmla="*/ 507 h 672"/>
                <a:gd name="T68" fmla="*/ 208 w 672"/>
                <a:gd name="T69" fmla="*/ 463 h 672"/>
                <a:gd name="T70" fmla="*/ 164 w 672"/>
                <a:gd name="T71" fmla="*/ 416 h 672"/>
                <a:gd name="T72" fmla="*/ 125 w 672"/>
                <a:gd name="T73" fmla="*/ 365 h 672"/>
                <a:gd name="T74" fmla="*/ 90 w 672"/>
                <a:gd name="T75" fmla="*/ 311 h 672"/>
                <a:gd name="T76" fmla="*/ 60 w 672"/>
                <a:gd name="T77" fmla="*/ 255 h 672"/>
                <a:gd name="T78" fmla="*/ 35 w 672"/>
                <a:gd name="T79" fmla="*/ 195 h 672"/>
                <a:gd name="T80" fmla="*/ 14 w 672"/>
                <a:gd name="T81" fmla="*/ 132 h 672"/>
                <a:gd name="T82" fmla="*/ 0 w 672"/>
                <a:gd name="T83" fmla="*/ 68 h 672"/>
                <a:gd name="T84" fmla="*/ 0 w 672"/>
                <a:gd name="T85" fmla="*/ 50 h 672"/>
                <a:gd name="T86" fmla="*/ 4 w 672"/>
                <a:gd name="T87" fmla="*/ 32 h 672"/>
                <a:gd name="T88" fmla="*/ 15 w 672"/>
                <a:gd name="T89" fmla="*/ 18 h 672"/>
                <a:gd name="T90" fmla="*/ 29 w 672"/>
                <a:gd name="T91" fmla="*/ 7 h 672"/>
                <a:gd name="T92" fmla="*/ 47 w 672"/>
                <a:gd name="T93" fmla="*/ 0 h 672"/>
                <a:gd name="T94" fmla="*/ 66 w 672"/>
                <a:gd name="T95"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2" h="672">
                  <a:moveTo>
                    <a:pt x="66" y="0"/>
                  </a:moveTo>
                  <a:lnTo>
                    <a:pt x="83" y="4"/>
                  </a:lnTo>
                  <a:lnTo>
                    <a:pt x="98" y="15"/>
                  </a:lnTo>
                  <a:lnTo>
                    <a:pt x="109" y="30"/>
                  </a:lnTo>
                  <a:lnTo>
                    <a:pt x="115" y="47"/>
                  </a:lnTo>
                  <a:lnTo>
                    <a:pt x="131" y="110"/>
                  </a:lnTo>
                  <a:lnTo>
                    <a:pt x="152" y="171"/>
                  </a:lnTo>
                  <a:lnTo>
                    <a:pt x="178" y="228"/>
                  </a:lnTo>
                  <a:lnTo>
                    <a:pt x="211" y="282"/>
                  </a:lnTo>
                  <a:lnTo>
                    <a:pt x="249" y="333"/>
                  </a:lnTo>
                  <a:lnTo>
                    <a:pt x="291" y="380"/>
                  </a:lnTo>
                  <a:lnTo>
                    <a:pt x="337" y="423"/>
                  </a:lnTo>
                  <a:lnTo>
                    <a:pt x="388" y="460"/>
                  </a:lnTo>
                  <a:lnTo>
                    <a:pt x="442" y="492"/>
                  </a:lnTo>
                  <a:lnTo>
                    <a:pt x="501" y="520"/>
                  </a:lnTo>
                  <a:lnTo>
                    <a:pt x="560" y="541"/>
                  </a:lnTo>
                  <a:lnTo>
                    <a:pt x="624" y="555"/>
                  </a:lnTo>
                  <a:lnTo>
                    <a:pt x="642" y="562"/>
                  </a:lnTo>
                  <a:lnTo>
                    <a:pt x="656" y="573"/>
                  </a:lnTo>
                  <a:lnTo>
                    <a:pt x="666" y="588"/>
                  </a:lnTo>
                  <a:lnTo>
                    <a:pt x="672" y="605"/>
                  </a:lnTo>
                  <a:lnTo>
                    <a:pt x="672" y="625"/>
                  </a:lnTo>
                  <a:lnTo>
                    <a:pt x="666" y="640"/>
                  </a:lnTo>
                  <a:lnTo>
                    <a:pt x="656" y="653"/>
                  </a:lnTo>
                  <a:lnTo>
                    <a:pt x="644" y="663"/>
                  </a:lnTo>
                  <a:lnTo>
                    <a:pt x="630" y="670"/>
                  </a:lnTo>
                  <a:lnTo>
                    <a:pt x="613" y="672"/>
                  </a:lnTo>
                  <a:lnTo>
                    <a:pt x="602" y="672"/>
                  </a:lnTo>
                  <a:lnTo>
                    <a:pt x="538" y="657"/>
                  </a:lnTo>
                  <a:lnTo>
                    <a:pt x="476" y="637"/>
                  </a:lnTo>
                  <a:lnTo>
                    <a:pt x="417" y="611"/>
                  </a:lnTo>
                  <a:lnTo>
                    <a:pt x="359" y="580"/>
                  </a:lnTo>
                  <a:lnTo>
                    <a:pt x="305" y="546"/>
                  </a:lnTo>
                  <a:lnTo>
                    <a:pt x="254" y="507"/>
                  </a:lnTo>
                  <a:lnTo>
                    <a:pt x="208" y="463"/>
                  </a:lnTo>
                  <a:lnTo>
                    <a:pt x="164" y="416"/>
                  </a:lnTo>
                  <a:lnTo>
                    <a:pt x="125" y="365"/>
                  </a:lnTo>
                  <a:lnTo>
                    <a:pt x="90" y="311"/>
                  </a:lnTo>
                  <a:lnTo>
                    <a:pt x="60" y="255"/>
                  </a:lnTo>
                  <a:lnTo>
                    <a:pt x="35" y="195"/>
                  </a:lnTo>
                  <a:lnTo>
                    <a:pt x="14" y="132"/>
                  </a:lnTo>
                  <a:lnTo>
                    <a:pt x="0" y="68"/>
                  </a:lnTo>
                  <a:lnTo>
                    <a:pt x="0" y="50"/>
                  </a:lnTo>
                  <a:lnTo>
                    <a:pt x="4" y="32"/>
                  </a:lnTo>
                  <a:lnTo>
                    <a:pt x="15" y="18"/>
                  </a:lnTo>
                  <a:lnTo>
                    <a:pt x="29" y="7"/>
                  </a:lnTo>
                  <a:lnTo>
                    <a:pt x="47" y="0"/>
                  </a:lnTo>
                  <a:lnTo>
                    <a:pt x="66"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sp>
          <p:nvSpPr>
            <p:cNvPr id="21" name="Freeform 10"/>
            <p:cNvSpPr>
              <a:spLocks/>
            </p:cNvSpPr>
            <p:nvPr/>
          </p:nvSpPr>
          <p:spPr bwMode="auto">
            <a:xfrm>
              <a:off x="1890" y="2121"/>
              <a:ext cx="52" cy="131"/>
            </a:xfrm>
            <a:custGeom>
              <a:avLst/>
              <a:gdLst>
                <a:gd name="T0" fmla="*/ 60 w 307"/>
                <a:gd name="T1" fmla="*/ 0 h 783"/>
                <a:gd name="T2" fmla="*/ 76 w 307"/>
                <a:gd name="T3" fmla="*/ 3 h 783"/>
                <a:gd name="T4" fmla="*/ 89 w 307"/>
                <a:gd name="T5" fmla="*/ 9 h 783"/>
                <a:gd name="T6" fmla="*/ 101 w 307"/>
                <a:gd name="T7" fmla="*/ 19 h 783"/>
                <a:gd name="T8" fmla="*/ 143 w 307"/>
                <a:gd name="T9" fmla="*/ 67 h 783"/>
                <a:gd name="T10" fmla="*/ 181 w 307"/>
                <a:gd name="T11" fmla="*/ 118 h 783"/>
                <a:gd name="T12" fmla="*/ 214 w 307"/>
                <a:gd name="T13" fmla="*/ 171 h 783"/>
                <a:gd name="T14" fmla="*/ 241 w 307"/>
                <a:gd name="T15" fmla="*/ 228 h 783"/>
                <a:gd name="T16" fmla="*/ 265 w 307"/>
                <a:gd name="T17" fmla="*/ 286 h 783"/>
                <a:gd name="T18" fmla="*/ 283 w 307"/>
                <a:gd name="T19" fmla="*/ 347 h 783"/>
                <a:gd name="T20" fmla="*/ 297 w 307"/>
                <a:gd name="T21" fmla="*/ 409 h 783"/>
                <a:gd name="T22" fmla="*/ 304 w 307"/>
                <a:gd name="T23" fmla="*/ 472 h 783"/>
                <a:gd name="T24" fmla="*/ 307 w 307"/>
                <a:gd name="T25" fmla="*/ 535 h 783"/>
                <a:gd name="T26" fmla="*/ 304 w 307"/>
                <a:gd name="T27" fmla="*/ 604 h 783"/>
                <a:gd name="T28" fmla="*/ 294 w 307"/>
                <a:gd name="T29" fmla="*/ 672 h 783"/>
                <a:gd name="T30" fmla="*/ 279 w 307"/>
                <a:gd name="T31" fmla="*/ 740 h 783"/>
                <a:gd name="T32" fmla="*/ 272 w 307"/>
                <a:gd name="T33" fmla="*/ 754 h 783"/>
                <a:gd name="T34" fmla="*/ 263 w 307"/>
                <a:gd name="T35" fmla="*/ 766 h 783"/>
                <a:gd name="T36" fmla="*/ 251 w 307"/>
                <a:gd name="T37" fmla="*/ 775 h 783"/>
                <a:gd name="T38" fmla="*/ 237 w 307"/>
                <a:gd name="T39" fmla="*/ 781 h 783"/>
                <a:gd name="T40" fmla="*/ 222 w 307"/>
                <a:gd name="T41" fmla="*/ 783 h 783"/>
                <a:gd name="T42" fmla="*/ 214 w 307"/>
                <a:gd name="T43" fmla="*/ 783 h 783"/>
                <a:gd name="T44" fmla="*/ 206 w 307"/>
                <a:gd name="T45" fmla="*/ 781 h 783"/>
                <a:gd name="T46" fmla="*/ 192 w 307"/>
                <a:gd name="T47" fmla="*/ 774 h 783"/>
                <a:gd name="T48" fmla="*/ 180 w 307"/>
                <a:gd name="T49" fmla="*/ 765 h 783"/>
                <a:gd name="T50" fmla="*/ 171 w 307"/>
                <a:gd name="T51" fmla="*/ 753 h 783"/>
                <a:gd name="T52" fmla="*/ 165 w 307"/>
                <a:gd name="T53" fmla="*/ 739 h 783"/>
                <a:gd name="T54" fmla="*/ 163 w 307"/>
                <a:gd name="T55" fmla="*/ 723 h 783"/>
                <a:gd name="T56" fmla="*/ 165 w 307"/>
                <a:gd name="T57" fmla="*/ 708 h 783"/>
                <a:gd name="T58" fmla="*/ 178 w 307"/>
                <a:gd name="T59" fmla="*/ 652 h 783"/>
                <a:gd name="T60" fmla="*/ 186 w 307"/>
                <a:gd name="T61" fmla="*/ 593 h 783"/>
                <a:gd name="T62" fmla="*/ 188 w 307"/>
                <a:gd name="T63" fmla="*/ 535 h 783"/>
                <a:gd name="T64" fmla="*/ 186 w 307"/>
                <a:gd name="T65" fmla="*/ 475 h 783"/>
                <a:gd name="T66" fmla="*/ 177 w 307"/>
                <a:gd name="T67" fmla="*/ 415 h 783"/>
                <a:gd name="T68" fmla="*/ 163 w 307"/>
                <a:gd name="T69" fmla="*/ 357 h 783"/>
                <a:gd name="T70" fmla="*/ 144 w 307"/>
                <a:gd name="T71" fmla="*/ 301 h 783"/>
                <a:gd name="T72" fmla="*/ 119 w 307"/>
                <a:gd name="T73" fmla="*/ 246 h 783"/>
                <a:gd name="T74" fmla="*/ 90 w 307"/>
                <a:gd name="T75" fmla="*/ 195 h 783"/>
                <a:gd name="T76" fmla="*/ 55 w 307"/>
                <a:gd name="T77" fmla="*/ 146 h 783"/>
                <a:gd name="T78" fmla="*/ 16 w 307"/>
                <a:gd name="T79" fmla="*/ 100 h 783"/>
                <a:gd name="T80" fmla="*/ 6 w 307"/>
                <a:gd name="T81" fmla="*/ 86 h 783"/>
                <a:gd name="T82" fmla="*/ 1 w 307"/>
                <a:gd name="T83" fmla="*/ 72 h 783"/>
                <a:gd name="T84" fmla="*/ 0 w 307"/>
                <a:gd name="T85" fmla="*/ 58 h 783"/>
                <a:gd name="T86" fmla="*/ 2 w 307"/>
                <a:gd name="T87" fmla="*/ 42 h 783"/>
                <a:gd name="T88" fmla="*/ 9 w 307"/>
                <a:gd name="T89" fmla="*/ 29 h 783"/>
                <a:gd name="T90" fmla="*/ 18 w 307"/>
                <a:gd name="T91" fmla="*/ 16 h 783"/>
                <a:gd name="T92" fmla="*/ 31 w 307"/>
                <a:gd name="T93" fmla="*/ 7 h 783"/>
                <a:gd name="T94" fmla="*/ 45 w 307"/>
                <a:gd name="T95" fmla="*/ 1 h 783"/>
                <a:gd name="T96" fmla="*/ 60 w 307"/>
                <a:gd name="T97" fmla="*/ 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7" h="783">
                  <a:moveTo>
                    <a:pt x="60" y="0"/>
                  </a:moveTo>
                  <a:lnTo>
                    <a:pt x="76" y="3"/>
                  </a:lnTo>
                  <a:lnTo>
                    <a:pt x="89" y="9"/>
                  </a:lnTo>
                  <a:lnTo>
                    <a:pt x="101" y="19"/>
                  </a:lnTo>
                  <a:lnTo>
                    <a:pt x="143" y="67"/>
                  </a:lnTo>
                  <a:lnTo>
                    <a:pt x="181" y="118"/>
                  </a:lnTo>
                  <a:lnTo>
                    <a:pt x="214" y="171"/>
                  </a:lnTo>
                  <a:lnTo>
                    <a:pt x="241" y="228"/>
                  </a:lnTo>
                  <a:lnTo>
                    <a:pt x="265" y="286"/>
                  </a:lnTo>
                  <a:lnTo>
                    <a:pt x="283" y="347"/>
                  </a:lnTo>
                  <a:lnTo>
                    <a:pt x="297" y="409"/>
                  </a:lnTo>
                  <a:lnTo>
                    <a:pt x="304" y="472"/>
                  </a:lnTo>
                  <a:lnTo>
                    <a:pt x="307" y="535"/>
                  </a:lnTo>
                  <a:lnTo>
                    <a:pt x="304" y="604"/>
                  </a:lnTo>
                  <a:lnTo>
                    <a:pt x="294" y="672"/>
                  </a:lnTo>
                  <a:lnTo>
                    <a:pt x="279" y="740"/>
                  </a:lnTo>
                  <a:lnTo>
                    <a:pt x="272" y="754"/>
                  </a:lnTo>
                  <a:lnTo>
                    <a:pt x="263" y="766"/>
                  </a:lnTo>
                  <a:lnTo>
                    <a:pt x="251" y="775"/>
                  </a:lnTo>
                  <a:lnTo>
                    <a:pt x="237" y="781"/>
                  </a:lnTo>
                  <a:lnTo>
                    <a:pt x="222" y="783"/>
                  </a:lnTo>
                  <a:lnTo>
                    <a:pt x="214" y="783"/>
                  </a:lnTo>
                  <a:lnTo>
                    <a:pt x="206" y="781"/>
                  </a:lnTo>
                  <a:lnTo>
                    <a:pt x="192" y="774"/>
                  </a:lnTo>
                  <a:lnTo>
                    <a:pt x="180" y="765"/>
                  </a:lnTo>
                  <a:lnTo>
                    <a:pt x="171" y="753"/>
                  </a:lnTo>
                  <a:lnTo>
                    <a:pt x="165" y="739"/>
                  </a:lnTo>
                  <a:lnTo>
                    <a:pt x="163" y="723"/>
                  </a:lnTo>
                  <a:lnTo>
                    <a:pt x="165" y="708"/>
                  </a:lnTo>
                  <a:lnTo>
                    <a:pt x="178" y="652"/>
                  </a:lnTo>
                  <a:lnTo>
                    <a:pt x="186" y="593"/>
                  </a:lnTo>
                  <a:lnTo>
                    <a:pt x="188" y="535"/>
                  </a:lnTo>
                  <a:lnTo>
                    <a:pt x="186" y="475"/>
                  </a:lnTo>
                  <a:lnTo>
                    <a:pt x="177" y="415"/>
                  </a:lnTo>
                  <a:lnTo>
                    <a:pt x="163" y="357"/>
                  </a:lnTo>
                  <a:lnTo>
                    <a:pt x="144" y="301"/>
                  </a:lnTo>
                  <a:lnTo>
                    <a:pt x="119" y="246"/>
                  </a:lnTo>
                  <a:lnTo>
                    <a:pt x="90" y="195"/>
                  </a:lnTo>
                  <a:lnTo>
                    <a:pt x="55" y="146"/>
                  </a:lnTo>
                  <a:lnTo>
                    <a:pt x="16" y="100"/>
                  </a:lnTo>
                  <a:lnTo>
                    <a:pt x="6" y="86"/>
                  </a:lnTo>
                  <a:lnTo>
                    <a:pt x="1" y="72"/>
                  </a:lnTo>
                  <a:lnTo>
                    <a:pt x="0" y="58"/>
                  </a:lnTo>
                  <a:lnTo>
                    <a:pt x="2" y="42"/>
                  </a:lnTo>
                  <a:lnTo>
                    <a:pt x="9" y="29"/>
                  </a:lnTo>
                  <a:lnTo>
                    <a:pt x="18" y="16"/>
                  </a:lnTo>
                  <a:lnTo>
                    <a:pt x="31" y="7"/>
                  </a:lnTo>
                  <a:lnTo>
                    <a:pt x="45" y="1"/>
                  </a:lnTo>
                  <a:lnTo>
                    <a:pt x="60"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sp>
          <p:nvSpPr>
            <p:cNvPr id="22" name="Freeform 11"/>
            <p:cNvSpPr>
              <a:spLocks noEditPoints="1"/>
            </p:cNvSpPr>
            <p:nvPr/>
          </p:nvSpPr>
          <p:spPr bwMode="auto">
            <a:xfrm>
              <a:off x="1987" y="2222"/>
              <a:ext cx="226" cy="250"/>
            </a:xfrm>
            <a:custGeom>
              <a:avLst/>
              <a:gdLst>
                <a:gd name="T0" fmla="*/ 612 w 1352"/>
                <a:gd name="T1" fmla="*/ 168 h 1504"/>
                <a:gd name="T2" fmla="*/ 580 w 1352"/>
                <a:gd name="T3" fmla="*/ 315 h 1504"/>
                <a:gd name="T4" fmla="*/ 359 w 1352"/>
                <a:gd name="T5" fmla="*/ 440 h 1504"/>
                <a:gd name="T6" fmla="*/ 219 w 1352"/>
                <a:gd name="T7" fmla="*/ 410 h 1504"/>
                <a:gd name="T8" fmla="*/ 127 w 1352"/>
                <a:gd name="T9" fmla="*/ 435 h 1504"/>
                <a:gd name="T10" fmla="*/ 151 w 1352"/>
                <a:gd name="T11" fmla="*/ 526 h 1504"/>
                <a:gd name="T12" fmla="*/ 247 w 1352"/>
                <a:gd name="T13" fmla="*/ 633 h 1504"/>
                <a:gd name="T14" fmla="*/ 247 w 1352"/>
                <a:gd name="T15" fmla="*/ 871 h 1504"/>
                <a:gd name="T16" fmla="*/ 151 w 1352"/>
                <a:gd name="T17" fmla="*/ 978 h 1504"/>
                <a:gd name="T18" fmla="*/ 127 w 1352"/>
                <a:gd name="T19" fmla="*/ 1069 h 1504"/>
                <a:gd name="T20" fmla="*/ 219 w 1352"/>
                <a:gd name="T21" fmla="*/ 1094 h 1504"/>
                <a:gd name="T22" fmla="*/ 359 w 1352"/>
                <a:gd name="T23" fmla="*/ 1064 h 1504"/>
                <a:gd name="T24" fmla="*/ 580 w 1352"/>
                <a:gd name="T25" fmla="*/ 1188 h 1504"/>
                <a:gd name="T26" fmla="*/ 612 w 1352"/>
                <a:gd name="T27" fmla="*/ 1336 h 1504"/>
                <a:gd name="T28" fmla="*/ 693 w 1352"/>
                <a:gd name="T29" fmla="*/ 1384 h 1504"/>
                <a:gd name="T30" fmla="*/ 743 w 1352"/>
                <a:gd name="T31" fmla="*/ 1239 h 1504"/>
                <a:gd name="T32" fmla="*/ 833 w 1352"/>
                <a:gd name="T33" fmla="*/ 1167 h 1504"/>
                <a:gd name="T34" fmla="*/ 1020 w 1352"/>
                <a:gd name="T35" fmla="*/ 1048 h 1504"/>
                <a:gd name="T36" fmla="*/ 1167 w 1352"/>
                <a:gd name="T37" fmla="*/ 1102 h 1504"/>
                <a:gd name="T38" fmla="*/ 1234 w 1352"/>
                <a:gd name="T39" fmla="*/ 1035 h 1504"/>
                <a:gd name="T40" fmla="*/ 1119 w 1352"/>
                <a:gd name="T41" fmla="*/ 928 h 1504"/>
                <a:gd name="T42" fmla="*/ 1119 w 1352"/>
                <a:gd name="T43" fmla="*/ 791 h 1504"/>
                <a:gd name="T44" fmla="*/ 1104 w 1352"/>
                <a:gd name="T45" fmla="*/ 602 h 1504"/>
                <a:gd name="T46" fmla="*/ 1225 w 1352"/>
                <a:gd name="T47" fmla="*/ 502 h 1504"/>
                <a:gd name="T48" fmla="*/ 1200 w 1352"/>
                <a:gd name="T49" fmla="*/ 410 h 1504"/>
                <a:gd name="T50" fmla="*/ 1050 w 1352"/>
                <a:gd name="T51" fmla="*/ 456 h 1504"/>
                <a:gd name="T52" fmla="*/ 918 w 1352"/>
                <a:gd name="T53" fmla="*/ 379 h 1504"/>
                <a:gd name="T54" fmla="*/ 751 w 1352"/>
                <a:gd name="T55" fmla="*/ 295 h 1504"/>
                <a:gd name="T56" fmla="*/ 723 w 1352"/>
                <a:gd name="T57" fmla="*/ 138 h 1504"/>
                <a:gd name="T58" fmla="*/ 741 w 1352"/>
                <a:gd name="T59" fmla="*/ 12 h 1504"/>
                <a:gd name="T60" fmla="*/ 858 w 1352"/>
                <a:gd name="T61" fmla="*/ 152 h 1504"/>
                <a:gd name="T62" fmla="*/ 1044 w 1352"/>
                <a:gd name="T63" fmla="*/ 325 h 1504"/>
                <a:gd name="T64" fmla="*/ 1215 w 1352"/>
                <a:gd name="T65" fmla="*/ 290 h 1504"/>
                <a:gd name="T66" fmla="*/ 1340 w 1352"/>
                <a:gd name="T67" fmla="*/ 403 h 1504"/>
                <a:gd name="T68" fmla="*/ 1322 w 1352"/>
                <a:gd name="T69" fmla="*/ 568 h 1504"/>
                <a:gd name="T70" fmla="*/ 1238 w 1352"/>
                <a:gd name="T71" fmla="*/ 751 h 1504"/>
                <a:gd name="T72" fmla="*/ 1322 w 1352"/>
                <a:gd name="T73" fmla="*/ 936 h 1504"/>
                <a:gd name="T74" fmla="*/ 1340 w 1352"/>
                <a:gd name="T75" fmla="*/ 1101 h 1504"/>
                <a:gd name="T76" fmla="*/ 1215 w 1352"/>
                <a:gd name="T77" fmla="*/ 1214 h 1504"/>
                <a:gd name="T78" fmla="*/ 1044 w 1352"/>
                <a:gd name="T79" fmla="*/ 1177 h 1504"/>
                <a:gd name="T80" fmla="*/ 858 w 1352"/>
                <a:gd name="T81" fmla="*/ 1352 h 1504"/>
                <a:gd name="T82" fmla="*/ 741 w 1352"/>
                <a:gd name="T83" fmla="*/ 1492 h 1504"/>
                <a:gd name="T84" fmla="*/ 556 w 1352"/>
                <a:gd name="T85" fmla="*/ 1460 h 1504"/>
                <a:gd name="T86" fmla="*/ 491 w 1352"/>
                <a:gd name="T87" fmla="*/ 1283 h 1504"/>
                <a:gd name="T88" fmla="*/ 251 w 1352"/>
                <a:gd name="T89" fmla="*/ 1208 h 1504"/>
                <a:gd name="T90" fmla="*/ 85 w 1352"/>
                <a:gd name="T91" fmla="*/ 1191 h 1504"/>
                <a:gd name="T92" fmla="*/ 0 w 1352"/>
                <a:gd name="T93" fmla="*/ 1044 h 1504"/>
                <a:gd name="T94" fmla="*/ 68 w 1352"/>
                <a:gd name="T95" fmla="*/ 893 h 1504"/>
                <a:gd name="T96" fmla="*/ 123 w 1352"/>
                <a:gd name="T97" fmla="*/ 647 h 1504"/>
                <a:gd name="T98" fmla="*/ 6 w 1352"/>
                <a:gd name="T99" fmla="*/ 516 h 1504"/>
                <a:gd name="T100" fmla="*/ 41 w 1352"/>
                <a:gd name="T101" fmla="*/ 352 h 1504"/>
                <a:gd name="T102" fmla="*/ 194 w 1352"/>
                <a:gd name="T103" fmla="*/ 283 h 1504"/>
                <a:gd name="T104" fmla="*/ 394 w 1352"/>
                <a:gd name="T105" fmla="*/ 265 h 1504"/>
                <a:gd name="T106" fmla="*/ 517 w 1352"/>
                <a:gd name="T107" fmla="*/ 91 h 1504"/>
                <a:gd name="T108" fmla="*/ 676 w 1352"/>
                <a:gd name="T109" fmla="*/ 0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52" h="1504">
                  <a:moveTo>
                    <a:pt x="676" y="118"/>
                  </a:moveTo>
                  <a:lnTo>
                    <a:pt x="658" y="120"/>
                  </a:lnTo>
                  <a:lnTo>
                    <a:pt x="643" y="127"/>
                  </a:lnTo>
                  <a:lnTo>
                    <a:pt x="628" y="138"/>
                  </a:lnTo>
                  <a:lnTo>
                    <a:pt x="618" y="151"/>
                  </a:lnTo>
                  <a:lnTo>
                    <a:pt x="612" y="168"/>
                  </a:lnTo>
                  <a:lnTo>
                    <a:pt x="609" y="185"/>
                  </a:lnTo>
                  <a:lnTo>
                    <a:pt x="609" y="265"/>
                  </a:lnTo>
                  <a:lnTo>
                    <a:pt x="607" y="280"/>
                  </a:lnTo>
                  <a:lnTo>
                    <a:pt x="601" y="295"/>
                  </a:lnTo>
                  <a:lnTo>
                    <a:pt x="592" y="307"/>
                  </a:lnTo>
                  <a:lnTo>
                    <a:pt x="580" y="315"/>
                  </a:lnTo>
                  <a:lnTo>
                    <a:pt x="564" y="322"/>
                  </a:lnTo>
                  <a:lnTo>
                    <a:pt x="519" y="336"/>
                  </a:lnTo>
                  <a:lnTo>
                    <a:pt x="475" y="355"/>
                  </a:lnTo>
                  <a:lnTo>
                    <a:pt x="433" y="379"/>
                  </a:lnTo>
                  <a:lnTo>
                    <a:pt x="394" y="408"/>
                  </a:lnTo>
                  <a:lnTo>
                    <a:pt x="359" y="440"/>
                  </a:lnTo>
                  <a:lnTo>
                    <a:pt x="346" y="450"/>
                  </a:lnTo>
                  <a:lnTo>
                    <a:pt x="332" y="456"/>
                  </a:lnTo>
                  <a:lnTo>
                    <a:pt x="317" y="458"/>
                  </a:lnTo>
                  <a:lnTo>
                    <a:pt x="302" y="456"/>
                  </a:lnTo>
                  <a:lnTo>
                    <a:pt x="287" y="450"/>
                  </a:lnTo>
                  <a:lnTo>
                    <a:pt x="219" y="410"/>
                  </a:lnTo>
                  <a:lnTo>
                    <a:pt x="202" y="404"/>
                  </a:lnTo>
                  <a:lnTo>
                    <a:pt x="185" y="402"/>
                  </a:lnTo>
                  <a:lnTo>
                    <a:pt x="168" y="404"/>
                  </a:lnTo>
                  <a:lnTo>
                    <a:pt x="151" y="410"/>
                  </a:lnTo>
                  <a:lnTo>
                    <a:pt x="137" y="421"/>
                  </a:lnTo>
                  <a:lnTo>
                    <a:pt x="127" y="435"/>
                  </a:lnTo>
                  <a:lnTo>
                    <a:pt x="121" y="451"/>
                  </a:lnTo>
                  <a:lnTo>
                    <a:pt x="118" y="469"/>
                  </a:lnTo>
                  <a:lnTo>
                    <a:pt x="121" y="485"/>
                  </a:lnTo>
                  <a:lnTo>
                    <a:pt x="127" y="502"/>
                  </a:lnTo>
                  <a:lnTo>
                    <a:pt x="137" y="515"/>
                  </a:lnTo>
                  <a:lnTo>
                    <a:pt x="151" y="526"/>
                  </a:lnTo>
                  <a:lnTo>
                    <a:pt x="220" y="566"/>
                  </a:lnTo>
                  <a:lnTo>
                    <a:pt x="233" y="576"/>
                  </a:lnTo>
                  <a:lnTo>
                    <a:pt x="242" y="588"/>
                  </a:lnTo>
                  <a:lnTo>
                    <a:pt x="247" y="602"/>
                  </a:lnTo>
                  <a:lnTo>
                    <a:pt x="250" y="618"/>
                  </a:lnTo>
                  <a:lnTo>
                    <a:pt x="247" y="633"/>
                  </a:lnTo>
                  <a:lnTo>
                    <a:pt x="239" y="673"/>
                  </a:lnTo>
                  <a:lnTo>
                    <a:pt x="233" y="713"/>
                  </a:lnTo>
                  <a:lnTo>
                    <a:pt x="231" y="751"/>
                  </a:lnTo>
                  <a:lnTo>
                    <a:pt x="233" y="791"/>
                  </a:lnTo>
                  <a:lnTo>
                    <a:pt x="239" y="831"/>
                  </a:lnTo>
                  <a:lnTo>
                    <a:pt x="247" y="871"/>
                  </a:lnTo>
                  <a:lnTo>
                    <a:pt x="250" y="886"/>
                  </a:lnTo>
                  <a:lnTo>
                    <a:pt x="247" y="901"/>
                  </a:lnTo>
                  <a:lnTo>
                    <a:pt x="242" y="916"/>
                  </a:lnTo>
                  <a:lnTo>
                    <a:pt x="233" y="928"/>
                  </a:lnTo>
                  <a:lnTo>
                    <a:pt x="220" y="938"/>
                  </a:lnTo>
                  <a:lnTo>
                    <a:pt x="151" y="978"/>
                  </a:lnTo>
                  <a:lnTo>
                    <a:pt x="137" y="989"/>
                  </a:lnTo>
                  <a:lnTo>
                    <a:pt x="127" y="1002"/>
                  </a:lnTo>
                  <a:lnTo>
                    <a:pt x="121" y="1018"/>
                  </a:lnTo>
                  <a:lnTo>
                    <a:pt x="118" y="1035"/>
                  </a:lnTo>
                  <a:lnTo>
                    <a:pt x="121" y="1053"/>
                  </a:lnTo>
                  <a:lnTo>
                    <a:pt x="127" y="1069"/>
                  </a:lnTo>
                  <a:lnTo>
                    <a:pt x="138" y="1082"/>
                  </a:lnTo>
                  <a:lnTo>
                    <a:pt x="151" y="1094"/>
                  </a:lnTo>
                  <a:lnTo>
                    <a:pt x="168" y="1100"/>
                  </a:lnTo>
                  <a:lnTo>
                    <a:pt x="185" y="1102"/>
                  </a:lnTo>
                  <a:lnTo>
                    <a:pt x="202" y="1100"/>
                  </a:lnTo>
                  <a:lnTo>
                    <a:pt x="219" y="1094"/>
                  </a:lnTo>
                  <a:lnTo>
                    <a:pt x="287" y="1054"/>
                  </a:lnTo>
                  <a:lnTo>
                    <a:pt x="302" y="1048"/>
                  </a:lnTo>
                  <a:lnTo>
                    <a:pt x="317" y="1046"/>
                  </a:lnTo>
                  <a:lnTo>
                    <a:pt x="331" y="1048"/>
                  </a:lnTo>
                  <a:lnTo>
                    <a:pt x="346" y="1054"/>
                  </a:lnTo>
                  <a:lnTo>
                    <a:pt x="359" y="1064"/>
                  </a:lnTo>
                  <a:lnTo>
                    <a:pt x="394" y="1096"/>
                  </a:lnTo>
                  <a:lnTo>
                    <a:pt x="433" y="1124"/>
                  </a:lnTo>
                  <a:lnTo>
                    <a:pt x="475" y="1149"/>
                  </a:lnTo>
                  <a:lnTo>
                    <a:pt x="519" y="1167"/>
                  </a:lnTo>
                  <a:lnTo>
                    <a:pt x="564" y="1182"/>
                  </a:lnTo>
                  <a:lnTo>
                    <a:pt x="580" y="1188"/>
                  </a:lnTo>
                  <a:lnTo>
                    <a:pt x="592" y="1197"/>
                  </a:lnTo>
                  <a:lnTo>
                    <a:pt x="601" y="1209"/>
                  </a:lnTo>
                  <a:lnTo>
                    <a:pt x="607" y="1224"/>
                  </a:lnTo>
                  <a:lnTo>
                    <a:pt x="609" y="1239"/>
                  </a:lnTo>
                  <a:lnTo>
                    <a:pt x="609" y="1319"/>
                  </a:lnTo>
                  <a:lnTo>
                    <a:pt x="612" y="1336"/>
                  </a:lnTo>
                  <a:lnTo>
                    <a:pt x="618" y="1353"/>
                  </a:lnTo>
                  <a:lnTo>
                    <a:pt x="628" y="1366"/>
                  </a:lnTo>
                  <a:lnTo>
                    <a:pt x="643" y="1377"/>
                  </a:lnTo>
                  <a:lnTo>
                    <a:pt x="658" y="1384"/>
                  </a:lnTo>
                  <a:lnTo>
                    <a:pt x="676" y="1386"/>
                  </a:lnTo>
                  <a:lnTo>
                    <a:pt x="693" y="1384"/>
                  </a:lnTo>
                  <a:lnTo>
                    <a:pt x="710" y="1377"/>
                  </a:lnTo>
                  <a:lnTo>
                    <a:pt x="723" y="1366"/>
                  </a:lnTo>
                  <a:lnTo>
                    <a:pt x="734" y="1353"/>
                  </a:lnTo>
                  <a:lnTo>
                    <a:pt x="741" y="1336"/>
                  </a:lnTo>
                  <a:lnTo>
                    <a:pt x="743" y="1319"/>
                  </a:lnTo>
                  <a:lnTo>
                    <a:pt x="743" y="1239"/>
                  </a:lnTo>
                  <a:lnTo>
                    <a:pt x="745" y="1224"/>
                  </a:lnTo>
                  <a:lnTo>
                    <a:pt x="751" y="1209"/>
                  </a:lnTo>
                  <a:lnTo>
                    <a:pt x="761" y="1197"/>
                  </a:lnTo>
                  <a:lnTo>
                    <a:pt x="773" y="1188"/>
                  </a:lnTo>
                  <a:lnTo>
                    <a:pt x="787" y="1182"/>
                  </a:lnTo>
                  <a:lnTo>
                    <a:pt x="833" y="1167"/>
                  </a:lnTo>
                  <a:lnTo>
                    <a:pt x="878" y="1149"/>
                  </a:lnTo>
                  <a:lnTo>
                    <a:pt x="918" y="1124"/>
                  </a:lnTo>
                  <a:lnTo>
                    <a:pt x="958" y="1096"/>
                  </a:lnTo>
                  <a:lnTo>
                    <a:pt x="993" y="1064"/>
                  </a:lnTo>
                  <a:lnTo>
                    <a:pt x="1006" y="1054"/>
                  </a:lnTo>
                  <a:lnTo>
                    <a:pt x="1020" y="1048"/>
                  </a:lnTo>
                  <a:lnTo>
                    <a:pt x="1035" y="1046"/>
                  </a:lnTo>
                  <a:lnTo>
                    <a:pt x="1050" y="1048"/>
                  </a:lnTo>
                  <a:lnTo>
                    <a:pt x="1065" y="1054"/>
                  </a:lnTo>
                  <a:lnTo>
                    <a:pt x="1134" y="1094"/>
                  </a:lnTo>
                  <a:lnTo>
                    <a:pt x="1150" y="1100"/>
                  </a:lnTo>
                  <a:lnTo>
                    <a:pt x="1167" y="1102"/>
                  </a:lnTo>
                  <a:lnTo>
                    <a:pt x="1184" y="1100"/>
                  </a:lnTo>
                  <a:lnTo>
                    <a:pt x="1200" y="1094"/>
                  </a:lnTo>
                  <a:lnTo>
                    <a:pt x="1214" y="1082"/>
                  </a:lnTo>
                  <a:lnTo>
                    <a:pt x="1225" y="1069"/>
                  </a:lnTo>
                  <a:lnTo>
                    <a:pt x="1232" y="1053"/>
                  </a:lnTo>
                  <a:lnTo>
                    <a:pt x="1234" y="1035"/>
                  </a:lnTo>
                  <a:lnTo>
                    <a:pt x="1232" y="1018"/>
                  </a:lnTo>
                  <a:lnTo>
                    <a:pt x="1225" y="1002"/>
                  </a:lnTo>
                  <a:lnTo>
                    <a:pt x="1214" y="989"/>
                  </a:lnTo>
                  <a:lnTo>
                    <a:pt x="1200" y="978"/>
                  </a:lnTo>
                  <a:lnTo>
                    <a:pt x="1131" y="938"/>
                  </a:lnTo>
                  <a:lnTo>
                    <a:pt x="1119" y="928"/>
                  </a:lnTo>
                  <a:lnTo>
                    <a:pt x="1109" y="916"/>
                  </a:lnTo>
                  <a:lnTo>
                    <a:pt x="1104" y="901"/>
                  </a:lnTo>
                  <a:lnTo>
                    <a:pt x="1102" y="886"/>
                  </a:lnTo>
                  <a:lnTo>
                    <a:pt x="1104" y="871"/>
                  </a:lnTo>
                  <a:lnTo>
                    <a:pt x="1114" y="831"/>
                  </a:lnTo>
                  <a:lnTo>
                    <a:pt x="1119" y="791"/>
                  </a:lnTo>
                  <a:lnTo>
                    <a:pt x="1120" y="751"/>
                  </a:lnTo>
                  <a:lnTo>
                    <a:pt x="1119" y="713"/>
                  </a:lnTo>
                  <a:lnTo>
                    <a:pt x="1114" y="673"/>
                  </a:lnTo>
                  <a:lnTo>
                    <a:pt x="1104" y="633"/>
                  </a:lnTo>
                  <a:lnTo>
                    <a:pt x="1102" y="618"/>
                  </a:lnTo>
                  <a:lnTo>
                    <a:pt x="1104" y="602"/>
                  </a:lnTo>
                  <a:lnTo>
                    <a:pt x="1109" y="588"/>
                  </a:lnTo>
                  <a:lnTo>
                    <a:pt x="1119" y="576"/>
                  </a:lnTo>
                  <a:lnTo>
                    <a:pt x="1131" y="566"/>
                  </a:lnTo>
                  <a:lnTo>
                    <a:pt x="1200" y="526"/>
                  </a:lnTo>
                  <a:lnTo>
                    <a:pt x="1214" y="515"/>
                  </a:lnTo>
                  <a:lnTo>
                    <a:pt x="1225" y="502"/>
                  </a:lnTo>
                  <a:lnTo>
                    <a:pt x="1232" y="485"/>
                  </a:lnTo>
                  <a:lnTo>
                    <a:pt x="1234" y="469"/>
                  </a:lnTo>
                  <a:lnTo>
                    <a:pt x="1232" y="451"/>
                  </a:lnTo>
                  <a:lnTo>
                    <a:pt x="1225" y="435"/>
                  </a:lnTo>
                  <a:lnTo>
                    <a:pt x="1214" y="420"/>
                  </a:lnTo>
                  <a:lnTo>
                    <a:pt x="1200" y="410"/>
                  </a:lnTo>
                  <a:lnTo>
                    <a:pt x="1184" y="404"/>
                  </a:lnTo>
                  <a:lnTo>
                    <a:pt x="1167" y="402"/>
                  </a:lnTo>
                  <a:lnTo>
                    <a:pt x="1150" y="404"/>
                  </a:lnTo>
                  <a:lnTo>
                    <a:pt x="1134" y="410"/>
                  </a:lnTo>
                  <a:lnTo>
                    <a:pt x="1065" y="450"/>
                  </a:lnTo>
                  <a:lnTo>
                    <a:pt x="1050" y="456"/>
                  </a:lnTo>
                  <a:lnTo>
                    <a:pt x="1035" y="458"/>
                  </a:lnTo>
                  <a:lnTo>
                    <a:pt x="1020" y="456"/>
                  </a:lnTo>
                  <a:lnTo>
                    <a:pt x="1006" y="450"/>
                  </a:lnTo>
                  <a:lnTo>
                    <a:pt x="993" y="440"/>
                  </a:lnTo>
                  <a:lnTo>
                    <a:pt x="958" y="408"/>
                  </a:lnTo>
                  <a:lnTo>
                    <a:pt x="918" y="379"/>
                  </a:lnTo>
                  <a:lnTo>
                    <a:pt x="878" y="355"/>
                  </a:lnTo>
                  <a:lnTo>
                    <a:pt x="833" y="336"/>
                  </a:lnTo>
                  <a:lnTo>
                    <a:pt x="787" y="322"/>
                  </a:lnTo>
                  <a:lnTo>
                    <a:pt x="773" y="315"/>
                  </a:lnTo>
                  <a:lnTo>
                    <a:pt x="761" y="307"/>
                  </a:lnTo>
                  <a:lnTo>
                    <a:pt x="751" y="295"/>
                  </a:lnTo>
                  <a:lnTo>
                    <a:pt x="745" y="280"/>
                  </a:lnTo>
                  <a:lnTo>
                    <a:pt x="743" y="265"/>
                  </a:lnTo>
                  <a:lnTo>
                    <a:pt x="743" y="185"/>
                  </a:lnTo>
                  <a:lnTo>
                    <a:pt x="741" y="168"/>
                  </a:lnTo>
                  <a:lnTo>
                    <a:pt x="734" y="151"/>
                  </a:lnTo>
                  <a:lnTo>
                    <a:pt x="723" y="138"/>
                  </a:lnTo>
                  <a:lnTo>
                    <a:pt x="710" y="127"/>
                  </a:lnTo>
                  <a:lnTo>
                    <a:pt x="693" y="120"/>
                  </a:lnTo>
                  <a:lnTo>
                    <a:pt x="676" y="118"/>
                  </a:lnTo>
                  <a:close/>
                  <a:moveTo>
                    <a:pt x="676" y="0"/>
                  </a:moveTo>
                  <a:lnTo>
                    <a:pt x="709" y="3"/>
                  </a:lnTo>
                  <a:lnTo>
                    <a:pt x="741" y="12"/>
                  </a:lnTo>
                  <a:lnTo>
                    <a:pt x="769" y="25"/>
                  </a:lnTo>
                  <a:lnTo>
                    <a:pt x="795" y="44"/>
                  </a:lnTo>
                  <a:lnTo>
                    <a:pt x="817" y="66"/>
                  </a:lnTo>
                  <a:lnTo>
                    <a:pt x="836" y="91"/>
                  </a:lnTo>
                  <a:lnTo>
                    <a:pt x="849" y="120"/>
                  </a:lnTo>
                  <a:lnTo>
                    <a:pt x="858" y="152"/>
                  </a:lnTo>
                  <a:lnTo>
                    <a:pt x="861" y="185"/>
                  </a:lnTo>
                  <a:lnTo>
                    <a:pt x="861" y="221"/>
                  </a:lnTo>
                  <a:lnTo>
                    <a:pt x="911" y="240"/>
                  </a:lnTo>
                  <a:lnTo>
                    <a:pt x="957" y="265"/>
                  </a:lnTo>
                  <a:lnTo>
                    <a:pt x="1002" y="293"/>
                  </a:lnTo>
                  <a:lnTo>
                    <a:pt x="1044" y="325"/>
                  </a:lnTo>
                  <a:lnTo>
                    <a:pt x="1074" y="308"/>
                  </a:lnTo>
                  <a:lnTo>
                    <a:pt x="1102" y="296"/>
                  </a:lnTo>
                  <a:lnTo>
                    <a:pt x="1129" y="287"/>
                  </a:lnTo>
                  <a:lnTo>
                    <a:pt x="1158" y="283"/>
                  </a:lnTo>
                  <a:lnTo>
                    <a:pt x="1187" y="285"/>
                  </a:lnTo>
                  <a:lnTo>
                    <a:pt x="1215" y="290"/>
                  </a:lnTo>
                  <a:lnTo>
                    <a:pt x="1242" y="299"/>
                  </a:lnTo>
                  <a:lnTo>
                    <a:pt x="1267" y="312"/>
                  </a:lnTo>
                  <a:lnTo>
                    <a:pt x="1289" y="330"/>
                  </a:lnTo>
                  <a:lnTo>
                    <a:pt x="1310" y="351"/>
                  </a:lnTo>
                  <a:lnTo>
                    <a:pt x="1327" y="376"/>
                  </a:lnTo>
                  <a:lnTo>
                    <a:pt x="1340" y="403"/>
                  </a:lnTo>
                  <a:lnTo>
                    <a:pt x="1348" y="431"/>
                  </a:lnTo>
                  <a:lnTo>
                    <a:pt x="1352" y="460"/>
                  </a:lnTo>
                  <a:lnTo>
                    <a:pt x="1351" y="489"/>
                  </a:lnTo>
                  <a:lnTo>
                    <a:pt x="1346" y="516"/>
                  </a:lnTo>
                  <a:lnTo>
                    <a:pt x="1336" y="543"/>
                  </a:lnTo>
                  <a:lnTo>
                    <a:pt x="1322" y="568"/>
                  </a:lnTo>
                  <a:lnTo>
                    <a:pt x="1306" y="591"/>
                  </a:lnTo>
                  <a:lnTo>
                    <a:pt x="1284" y="611"/>
                  </a:lnTo>
                  <a:lnTo>
                    <a:pt x="1259" y="629"/>
                  </a:lnTo>
                  <a:lnTo>
                    <a:pt x="1229" y="647"/>
                  </a:lnTo>
                  <a:lnTo>
                    <a:pt x="1236" y="700"/>
                  </a:lnTo>
                  <a:lnTo>
                    <a:pt x="1238" y="751"/>
                  </a:lnTo>
                  <a:lnTo>
                    <a:pt x="1236" y="804"/>
                  </a:lnTo>
                  <a:lnTo>
                    <a:pt x="1229" y="857"/>
                  </a:lnTo>
                  <a:lnTo>
                    <a:pt x="1259" y="875"/>
                  </a:lnTo>
                  <a:lnTo>
                    <a:pt x="1284" y="893"/>
                  </a:lnTo>
                  <a:lnTo>
                    <a:pt x="1306" y="913"/>
                  </a:lnTo>
                  <a:lnTo>
                    <a:pt x="1322" y="936"/>
                  </a:lnTo>
                  <a:lnTo>
                    <a:pt x="1336" y="961"/>
                  </a:lnTo>
                  <a:lnTo>
                    <a:pt x="1346" y="988"/>
                  </a:lnTo>
                  <a:lnTo>
                    <a:pt x="1351" y="1015"/>
                  </a:lnTo>
                  <a:lnTo>
                    <a:pt x="1352" y="1044"/>
                  </a:lnTo>
                  <a:lnTo>
                    <a:pt x="1348" y="1073"/>
                  </a:lnTo>
                  <a:lnTo>
                    <a:pt x="1340" y="1101"/>
                  </a:lnTo>
                  <a:lnTo>
                    <a:pt x="1327" y="1128"/>
                  </a:lnTo>
                  <a:lnTo>
                    <a:pt x="1310" y="1153"/>
                  </a:lnTo>
                  <a:lnTo>
                    <a:pt x="1289" y="1174"/>
                  </a:lnTo>
                  <a:lnTo>
                    <a:pt x="1267" y="1191"/>
                  </a:lnTo>
                  <a:lnTo>
                    <a:pt x="1242" y="1205"/>
                  </a:lnTo>
                  <a:lnTo>
                    <a:pt x="1215" y="1214"/>
                  </a:lnTo>
                  <a:lnTo>
                    <a:pt x="1187" y="1219"/>
                  </a:lnTo>
                  <a:lnTo>
                    <a:pt x="1158" y="1220"/>
                  </a:lnTo>
                  <a:lnTo>
                    <a:pt x="1129" y="1217"/>
                  </a:lnTo>
                  <a:lnTo>
                    <a:pt x="1102" y="1208"/>
                  </a:lnTo>
                  <a:lnTo>
                    <a:pt x="1074" y="1196"/>
                  </a:lnTo>
                  <a:lnTo>
                    <a:pt x="1044" y="1177"/>
                  </a:lnTo>
                  <a:lnTo>
                    <a:pt x="1002" y="1211"/>
                  </a:lnTo>
                  <a:lnTo>
                    <a:pt x="957" y="1239"/>
                  </a:lnTo>
                  <a:lnTo>
                    <a:pt x="911" y="1263"/>
                  </a:lnTo>
                  <a:lnTo>
                    <a:pt x="861" y="1283"/>
                  </a:lnTo>
                  <a:lnTo>
                    <a:pt x="861" y="1319"/>
                  </a:lnTo>
                  <a:lnTo>
                    <a:pt x="858" y="1352"/>
                  </a:lnTo>
                  <a:lnTo>
                    <a:pt x="849" y="1384"/>
                  </a:lnTo>
                  <a:lnTo>
                    <a:pt x="836" y="1412"/>
                  </a:lnTo>
                  <a:lnTo>
                    <a:pt x="817" y="1438"/>
                  </a:lnTo>
                  <a:lnTo>
                    <a:pt x="795" y="1460"/>
                  </a:lnTo>
                  <a:lnTo>
                    <a:pt x="769" y="1479"/>
                  </a:lnTo>
                  <a:lnTo>
                    <a:pt x="741" y="1492"/>
                  </a:lnTo>
                  <a:lnTo>
                    <a:pt x="709" y="1501"/>
                  </a:lnTo>
                  <a:lnTo>
                    <a:pt x="676" y="1504"/>
                  </a:lnTo>
                  <a:lnTo>
                    <a:pt x="643" y="1501"/>
                  </a:lnTo>
                  <a:lnTo>
                    <a:pt x="612" y="1492"/>
                  </a:lnTo>
                  <a:lnTo>
                    <a:pt x="583" y="1479"/>
                  </a:lnTo>
                  <a:lnTo>
                    <a:pt x="556" y="1460"/>
                  </a:lnTo>
                  <a:lnTo>
                    <a:pt x="534" y="1438"/>
                  </a:lnTo>
                  <a:lnTo>
                    <a:pt x="517" y="1412"/>
                  </a:lnTo>
                  <a:lnTo>
                    <a:pt x="502" y="1384"/>
                  </a:lnTo>
                  <a:lnTo>
                    <a:pt x="494" y="1352"/>
                  </a:lnTo>
                  <a:lnTo>
                    <a:pt x="491" y="1319"/>
                  </a:lnTo>
                  <a:lnTo>
                    <a:pt x="491" y="1283"/>
                  </a:lnTo>
                  <a:lnTo>
                    <a:pt x="442" y="1263"/>
                  </a:lnTo>
                  <a:lnTo>
                    <a:pt x="394" y="1239"/>
                  </a:lnTo>
                  <a:lnTo>
                    <a:pt x="350" y="1211"/>
                  </a:lnTo>
                  <a:lnTo>
                    <a:pt x="308" y="1177"/>
                  </a:lnTo>
                  <a:lnTo>
                    <a:pt x="277" y="1196"/>
                  </a:lnTo>
                  <a:lnTo>
                    <a:pt x="251" y="1208"/>
                  </a:lnTo>
                  <a:lnTo>
                    <a:pt x="222" y="1217"/>
                  </a:lnTo>
                  <a:lnTo>
                    <a:pt x="193" y="1220"/>
                  </a:lnTo>
                  <a:lnTo>
                    <a:pt x="165" y="1219"/>
                  </a:lnTo>
                  <a:lnTo>
                    <a:pt x="137" y="1214"/>
                  </a:lnTo>
                  <a:lnTo>
                    <a:pt x="111" y="1205"/>
                  </a:lnTo>
                  <a:lnTo>
                    <a:pt x="85" y="1191"/>
                  </a:lnTo>
                  <a:lnTo>
                    <a:pt x="62" y="1174"/>
                  </a:lnTo>
                  <a:lnTo>
                    <a:pt x="42" y="1153"/>
                  </a:lnTo>
                  <a:lnTo>
                    <a:pt x="24" y="1128"/>
                  </a:lnTo>
                  <a:lnTo>
                    <a:pt x="11" y="1101"/>
                  </a:lnTo>
                  <a:lnTo>
                    <a:pt x="4" y="1073"/>
                  </a:lnTo>
                  <a:lnTo>
                    <a:pt x="0" y="1044"/>
                  </a:lnTo>
                  <a:lnTo>
                    <a:pt x="1" y="1015"/>
                  </a:lnTo>
                  <a:lnTo>
                    <a:pt x="6" y="988"/>
                  </a:lnTo>
                  <a:lnTo>
                    <a:pt x="16" y="961"/>
                  </a:lnTo>
                  <a:lnTo>
                    <a:pt x="29" y="936"/>
                  </a:lnTo>
                  <a:lnTo>
                    <a:pt x="47" y="913"/>
                  </a:lnTo>
                  <a:lnTo>
                    <a:pt x="68" y="893"/>
                  </a:lnTo>
                  <a:lnTo>
                    <a:pt x="93" y="875"/>
                  </a:lnTo>
                  <a:lnTo>
                    <a:pt x="123" y="857"/>
                  </a:lnTo>
                  <a:lnTo>
                    <a:pt x="115" y="804"/>
                  </a:lnTo>
                  <a:lnTo>
                    <a:pt x="113" y="751"/>
                  </a:lnTo>
                  <a:lnTo>
                    <a:pt x="115" y="700"/>
                  </a:lnTo>
                  <a:lnTo>
                    <a:pt x="123" y="647"/>
                  </a:lnTo>
                  <a:lnTo>
                    <a:pt x="93" y="629"/>
                  </a:lnTo>
                  <a:lnTo>
                    <a:pt x="68" y="611"/>
                  </a:lnTo>
                  <a:lnTo>
                    <a:pt x="47" y="591"/>
                  </a:lnTo>
                  <a:lnTo>
                    <a:pt x="29" y="568"/>
                  </a:lnTo>
                  <a:lnTo>
                    <a:pt x="16" y="543"/>
                  </a:lnTo>
                  <a:lnTo>
                    <a:pt x="6" y="516"/>
                  </a:lnTo>
                  <a:lnTo>
                    <a:pt x="1" y="489"/>
                  </a:lnTo>
                  <a:lnTo>
                    <a:pt x="0" y="460"/>
                  </a:lnTo>
                  <a:lnTo>
                    <a:pt x="4" y="431"/>
                  </a:lnTo>
                  <a:lnTo>
                    <a:pt x="11" y="403"/>
                  </a:lnTo>
                  <a:lnTo>
                    <a:pt x="24" y="376"/>
                  </a:lnTo>
                  <a:lnTo>
                    <a:pt x="41" y="352"/>
                  </a:lnTo>
                  <a:lnTo>
                    <a:pt x="61" y="331"/>
                  </a:lnTo>
                  <a:lnTo>
                    <a:pt x="84" y="313"/>
                  </a:lnTo>
                  <a:lnTo>
                    <a:pt x="109" y="299"/>
                  </a:lnTo>
                  <a:lnTo>
                    <a:pt x="137" y="290"/>
                  </a:lnTo>
                  <a:lnTo>
                    <a:pt x="166" y="285"/>
                  </a:lnTo>
                  <a:lnTo>
                    <a:pt x="194" y="283"/>
                  </a:lnTo>
                  <a:lnTo>
                    <a:pt x="223" y="287"/>
                  </a:lnTo>
                  <a:lnTo>
                    <a:pt x="251" y="296"/>
                  </a:lnTo>
                  <a:lnTo>
                    <a:pt x="277" y="308"/>
                  </a:lnTo>
                  <a:lnTo>
                    <a:pt x="308" y="325"/>
                  </a:lnTo>
                  <a:lnTo>
                    <a:pt x="350" y="293"/>
                  </a:lnTo>
                  <a:lnTo>
                    <a:pt x="394" y="265"/>
                  </a:lnTo>
                  <a:lnTo>
                    <a:pt x="442" y="240"/>
                  </a:lnTo>
                  <a:lnTo>
                    <a:pt x="491" y="221"/>
                  </a:lnTo>
                  <a:lnTo>
                    <a:pt x="491" y="185"/>
                  </a:lnTo>
                  <a:lnTo>
                    <a:pt x="494" y="152"/>
                  </a:lnTo>
                  <a:lnTo>
                    <a:pt x="502" y="120"/>
                  </a:lnTo>
                  <a:lnTo>
                    <a:pt x="517" y="91"/>
                  </a:lnTo>
                  <a:lnTo>
                    <a:pt x="534" y="66"/>
                  </a:lnTo>
                  <a:lnTo>
                    <a:pt x="556" y="44"/>
                  </a:lnTo>
                  <a:lnTo>
                    <a:pt x="583" y="25"/>
                  </a:lnTo>
                  <a:lnTo>
                    <a:pt x="612" y="12"/>
                  </a:lnTo>
                  <a:lnTo>
                    <a:pt x="643" y="3"/>
                  </a:lnTo>
                  <a:lnTo>
                    <a:pt x="676"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sp>
          <p:nvSpPr>
            <p:cNvPr id="23" name="Freeform 12"/>
            <p:cNvSpPr>
              <a:spLocks noEditPoints="1"/>
            </p:cNvSpPr>
            <p:nvPr/>
          </p:nvSpPr>
          <p:spPr bwMode="auto">
            <a:xfrm>
              <a:off x="2058" y="2306"/>
              <a:ext cx="83" cy="82"/>
            </a:xfrm>
            <a:custGeom>
              <a:avLst/>
              <a:gdLst>
                <a:gd name="T0" fmla="*/ 219 w 497"/>
                <a:gd name="T1" fmla="*/ 122 h 496"/>
                <a:gd name="T2" fmla="*/ 168 w 497"/>
                <a:gd name="T3" fmla="*/ 147 h 496"/>
                <a:gd name="T4" fmla="*/ 132 w 497"/>
                <a:gd name="T5" fmla="*/ 191 h 496"/>
                <a:gd name="T6" fmla="*/ 120 w 497"/>
                <a:gd name="T7" fmla="*/ 247 h 496"/>
                <a:gd name="T8" fmla="*/ 132 w 497"/>
                <a:gd name="T9" fmla="*/ 305 h 496"/>
                <a:gd name="T10" fmla="*/ 168 w 497"/>
                <a:gd name="T11" fmla="*/ 349 h 496"/>
                <a:gd name="T12" fmla="*/ 219 w 497"/>
                <a:gd name="T13" fmla="*/ 374 h 496"/>
                <a:gd name="T14" fmla="*/ 278 w 497"/>
                <a:gd name="T15" fmla="*/ 374 h 496"/>
                <a:gd name="T16" fmla="*/ 330 w 497"/>
                <a:gd name="T17" fmla="*/ 349 h 496"/>
                <a:gd name="T18" fmla="*/ 366 w 497"/>
                <a:gd name="T19" fmla="*/ 305 h 496"/>
                <a:gd name="T20" fmla="*/ 379 w 497"/>
                <a:gd name="T21" fmla="*/ 247 h 496"/>
                <a:gd name="T22" fmla="*/ 366 w 497"/>
                <a:gd name="T23" fmla="*/ 191 h 496"/>
                <a:gd name="T24" fmla="*/ 330 w 497"/>
                <a:gd name="T25" fmla="*/ 147 h 496"/>
                <a:gd name="T26" fmla="*/ 278 w 497"/>
                <a:gd name="T27" fmla="*/ 122 h 496"/>
                <a:gd name="T28" fmla="*/ 249 w 497"/>
                <a:gd name="T29" fmla="*/ 0 h 496"/>
                <a:gd name="T30" fmla="*/ 327 w 497"/>
                <a:gd name="T31" fmla="*/ 12 h 496"/>
                <a:gd name="T32" fmla="*/ 395 w 497"/>
                <a:gd name="T33" fmla="*/ 48 h 496"/>
                <a:gd name="T34" fmla="*/ 450 w 497"/>
                <a:gd name="T35" fmla="*/ 102 h 496"/>
                <a:gd name="T36" fmla="*/ 485 w 497"/>
                <a:gd name="T37" fmla="*/ 169 h 496"/>
                <a:gd name="T38" fmla="*/ 497 w 497"/>
                <a:gd name="T39" fmla="*/ 247 h 496"/>
                <a:gd name="T40" fmla="*/ 485 w 497"/>
                <a:gd name="T41" fmla="*/ 326 h 496"/>
                <a:gd name="T42" fmla="*/ 450 w 497"/>
                <a:gd name="T43" fmla="*/ 394 h 496"/>
                <a:gd name="T44" fmla="*/ 395 w 497"/>
                <a:gd name="T45" fmla="*/ 448 h 496"/>
                <a:gd name="T46" fmla="*/ 327 w 497"/>
                <a:gd name="T47" fmla="*/ 484 h 496"/>
                <a:gd name="T48" fmla="*/ 249 w 497"/>
                <a:gd name="T49" fmla="*/ 496 h 496"/>
                <a:gd name="T50" fmla="*/ 170 w 497"/>
                <a:gd name="T51" fmla="*/ 484 h 496"/>
                <a:gd name="T52" fmla="*/ 103 w 497"/>
                <a:gd name="T53" fmla="*/ 448 h 496"/>
                <a:gd name="T54" fmla="*/ 49 w 497"/>
                <a:gd name="T55" fmla="*/ 394 h 496"/>
                <a:gd name="T56" fmla="*/ 14 w 497"/>
                <a:gd name="T57" fmla="*/ 326 h 496"/>
                <a:gd name="T58" fmla="*/ 0 w 497"/>
                <a:gd name="T59" fmla="*/ 247 h 496"/>
                <a:gd name="T60" fmla="*/ 14 w 497"/>
                <a:gd name="T61" fmla="*/ 169 h 496"/>
                <a:gd name="T62" fmla="*/ 49 w 497"/>
                <a:gd name="T63" fmla="*/ 102 h 496"/>
                <a:gd name="T64" fmla="*/ 103 w 497"/>
                <a:gd name="T65" fmla="*/ 48 h 496"/>
                <a:gd name="T66" fmla="*/ 170 w 497"/>
                <a:gd name="T67" fmla="*/ 12 h 496"/>
                <a:gd name="T68" fmla="*/ 249 w 497"/>
                <a:gd name="T69"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7" h="496">
                  <a:moveTo>
                    <a:pt x="249" y="118"/>
                  </a:moveTo>
                  <a:lnTo>
                    <a:pt x="219" y="122"/>
                  </a:lnTo>
                  <a:lnTo>
                    <a:pt x="192" y="132"/>
                  </a:lnTo>
                  <a:lnTo>
                    <a:pt x="168" y="147"/>
                  </a:lnTo>
                  <a:lnTo>
                    <a:pt x="147" y="167"/>
                  </a:lnTo>
                  <a:lnTo>
                    <a:pt x="132" y="191"/>
                  </a:lnTo>
                  <a:lnTo>
                    <a:pt x="123" y="219"/>
                  </a:lnTo>
                  <a:lnTo>
                    <a:pt x="120" y="247"/>
                  </a:lnTo>
                  <a:lnTo>
                    <a:pt x="123" y="277"/>
                  </a:lnTo>
                  <a:lnTo>
                    <a:pt x="132" y="305"/>
                  </a:lnTo>
                  <a:lnTo>
                    <a:pt x="147" y="329"/>
                  </a:lnTo>
                  <a:lnTo>
                    <a:pt x="168" y="349"/>
                  </a:lnTo>
                  <a:lnTo>
                    <a:pt x="192" y="364"/>
                  </a:lnTo>
                  <a:lnTo>
                    <a:pt x="219" y="374"/>
                  </a:lnTo>
                  <a:lnTo>
                    <a:pt x="249" y="378"/>
                  </a:lnTo>
                  <a:lnTo>
                    <a:pt x="278" y="374"/>
                  </a:lnTo>
                  <a:lnTo>
                    <a:pt x="306" y="364"/>
                  </a:lnTo>
                  <a:lnTo>
                    <a:pt x="330" y="349"/>
                  </a:lnTo>
                  <a:lnTo>
                    <a:pt x="350" y="329"/>
                  </a:lnTo>
                  <a:lnTo>
                    <a:pt x="366" y="305"/>
                  </a:lnTo>
                  <a:lnTo>
                    <a:pt x="376" y="277"/>
                  </a:lnTo>
                  <a:lnTo>
                    <a:pt x="379" y="247"/>
                  </a:lnTo>
                  <a:lnTo>
                    <a:pt x="376" y="219"/>
                  </a:lnTo>
                  <a:lnTo>
                    <a:pt x="366" y="191"/>
                  </a:lnTo>
                  <a:lnTo>
                    <a:pt x="350" y="167"/>
                  </a:lnTo>
                  <a:lnTo>
                    <a:pt x="330" y="147"/>
                  </a:lnTo>
                  <a:lnTo>
                    <a:pt x="306" y="132"/>
                  </a:lnTo>
                  <a:lnTo>
                    <a:pt x="278" y="122"/>
                  </a:lnTo>
                  <a:lnTo>
                    <a:pt x="249" y="118"/>
                  </a:lnTo>
                  <a:close/>
                  <a:moveTo>
                    <a:pt x="249" y="0"/>
                  </a:moveTo>
                  <a:lnTo>
                    <a:pt x="289" y="4"/>
                  </a:lnTo>
                  <a:lnTo>
                    <a:pt x="327" y="12"/>
                  </a:lnTo>
                  <a:lnTo>
                    <a:pt x="362" y="28"/>
                  </a:lnTo>
                  <a:lnTo>
                    <a:pt x="395" y="48"/>
                  </a:lnTo>
                  <a:lnTo>
                    <a:pt x="424" y="73"/>
                  </a:lnTo>
                  <a:lnTo>
                    <a:pt x="450" y="102"/>
                  </a:lnTo>
                  <a:lnTo>
                    <a:pt x="469" y="134"/>
                  </a:lnTo>
                  <a:lnTo>
                    <a:pt x="485" y="169"/>
                  </a:lnTo>
                  <a:lnTo>
                    <a:pt x="494" y="208"/>
                  </a:lnTo>
                  <a:lnTo>
                    <a:pt x="497" y="247"/>
                  </a:lnTo>
                  <a:lnTo>
                    <a:pt x="494" y="288"/>
                  </a:lnTo>
                  <a:lnTo>
                    <a:pt x="485" y="326"/>
                  </a:lnTo>
                  <a:lnTo>
                    <a:pt x="469" y="362"/>
                  </a:lnTo>
                  <a:lnTo>
                    <a:pt x="450" y="394"/>
                  </a:lnTo>
                  <a:lnTo>
                    <a:pt x="424" y="423"/>
                  </a:lnTo>
                  <a:lnTo>
                    <a:pt x="395" y="448"/>
                  </a:lnTo>
                  <a:lnTo>
                    <a:pt x="362" y="468"/>
                  </a:lnTo>
                  <a:lnTo>
                    <a:pt x="327" y="484"/>
                  </a:lnTo>
                  <a:lnTo>
                    <a:pt x="289" y="492"/>
                  </a:lnTo>
                  <a:lnTo>
                    <a:pt x="249" y="496"/>
                  </a:lnTo>
                  <a:lnTo>
                    <a:pt x="209" y="492"/>
                  </a:lnTo>
                  <a:lnTo>
                    <a:pt x="170" y="484"/>
                  </a:lnTo>
                  <a:lnTo>
                    <a:pt x="135" y="468"/>
                  </a:lnTo>
                  <a:lnTo>
                    <a:pt x="103" y="448"/>
                  </a:lnTo>
                  <a:lnTo>
                    <a:pt x="73" y="423"/>
                  </a:lnTo>
                  <a:lnTo>
                    <a:pt x="49" y="394"/>
                  </a:lnTo>
                  <a:lnTo>
                    <a:pt x="29" y="362"/>
                  </a:lnTo>
                  <a:lnTo>
                    <a:pt x="14" y="326"/>
                  </a:lnTo>
                  <a:lnTo>
                    <a:pt x="4" y="288"/>
                  </a:lnTo>
                  <a:lnTo>
                    <a:pt x="0" y="247"/>
                  </a:lnTo>
                  <a:lnTo>
                    <a:pt x="4" y="208"/>
                  </a:lnTo>
                  <a:lnTo>
                    <a:pt x="14" y="169"/>
                  </a:lnTo>
                  <a:lnTo>
                    <a:pt x="29" y="134"/>
                  </a:lnTo>
                  <a:lnTo>
                    <a:pt x="49" y="102"/>
                  </a:lnTo>
                  <a:lnTo>
                    <a:pt x="73" y="73"/>
                  </a:lnTo>
                  <a:lnTo>
                    <a:pt x="103" y="48"/>
                  </a:lnTo>
                  <a:lnTo>
                    <a:pt x="135" y="28"/>
                  </a:lnTo>
                  <a:lnTo>
                    <a:pt x="170" y="12"/>
                  </a:lnTo>
                  <a:lnTo>
                    <a:pt x="209" y="4"/>
                  </a:lnTo>
                  <a:lnTo>
                    <a:pt x="249"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sp>
          <p:nvSpPr>
            <p:cNvPr id="24" name="Freeform 13"/>
            <p:cNvSpPr>
              <a:spLocks noEditPoints="1"/>
            </p:cNvSpPr>
            <p:nvPr/>
          </p:nvSpPr>
          <p:spPr bwMode="auto">
            <a:xfrm>
              <a:off x="1733" y="2127"/>
              <a:ext cx="167" cy="167"/>
            </a:xfrm>
            <a:custGeom>
              <a:avLst/>
              <a:gdLst>
                <a:gd name="T0" fmla="*/ 448 w 1000"/>
                <a:gd name="T1" fmla="*/ 122 h 999"/>
                <a:gd name="T2" fmla="*/ 351 w 1000"/>
                <a:gd name="T3" fmla="*/ 149 h 999"/>
                <a:gd name="T4" fmla="*/ 267 w 1000"/>
                <a:gd name="T5" fmla="*/ 198 h 999"/>
                <a:gd name="T6" fmla="*/ 198 w 1000"/>
                <a:gd name="T7" fmla="*/ 267 h 999"/>
                <a:gd name="T8" fmla="*/ 148 w 1000"/>
                <a:gd name="T9" fmla="*/ 352 h 999"/>
                <a:gd name="T10" fmla="*/ 121 w 1000"/>
                <a:gd name="T11" fmla="*/ 449 h 999"/>
                <a:gd name="T12" fmla="*/ 121 w 1000"/>
                <a:gd name="T13" fmla="*/ 551 h 999"/>
                <a:gd name="T14" fmla="*/ 148 w 1000"/>
                <a:gd name="T15" fmla="*/ 649 h 999"/>
                <a:gd name="T16" fmla="*/ 198 w 1000"/>
                <a:gd name="T17" fmla="*/ 733 h 999"/>
                <a:gd name="T18" fmla="*/ 267 w 1000"/>
                <a:gd name="T19" fmla="*/ 802 h 999"/>
                <a:gd name="T20" fmla="*/ 351 w 1000"/>
                <a:gd name="T21" fmla="*/ 852 h 999"/>
                <a:gd name="T22" fmla="*/ 448 w 1000"/>
                <a:gd name="T23" fmla="*/ 878 h 999"/>
                <a:gd name="T24" fmla="*/ 552 w 1000"/>
                <a:gd name="T25" fmla="*/ 878 h 999"/>
                <a:gd name="T26" fmla="*/ 649 w 1000"/>
                <a:gd name="T27" fmla="*/ 852 h 999"/>
                <a:gd name="T28" fmla="*/ 733 w 1000"/>
                <a:gd name="T29" fmla="*/ 802 h 999"/>
                <a:gd name="T30" fmla="*/ 802 w 1000"/>
                <a:gd name="T31" fmla="*/ 733 h 999"/>
                <a:gd name="T32" fmla="*/ 852 w 1000"/>
                <a:gd name="T33" fmla="*/ 649 h 999"/>
                <a:gd name="T34" fmla="*/ 878 w 1000"/>
                <a:gd name="T35" fmla="*/ 551 h 999"/>
                <a:gd name="T36" fmla="*/ 878 w 1000"/>
                <a:gd name="T37" fmla="*/ 449 h 999"/>
                <a:gd name="T38" fmla="*/ 852 w 1000"/>
                <a:gd name="T39" fmla="*/ 352 h 999"/>
                <a:gd name="T40" fmla="*/ 802 w 1000"/>
                <a:gd name="T41" fmla="*/ 267 h 999"/>
                <a:gd name="T42" fmla="*/ 733 w 1000"/>
                <a:gd name="T43" fmla="*/ 198 h 999"/>
                <a:gd name="T44" fmla="*/ 649 w 1000"/>
                <a:gd name="T45" fmla="*/ 149 h 999"/>
                <a:gd name="T46" fmla="*/ 552 w 1000"/>
                <a:gd name="T47" fmla="*/ 122 h 999"/>
                <a:gd name="T48" fmla="*/ 500 w 1000"/>
                <a:gd name="T49" fmla="*/ 0 h 999"/>
                <a:gd name="T50" fmla="*/ 615 w 1000"/>
                <a:gd name="T51" fmla="*/ 13 h 999"/>
                <a:gd name="T52" fmla="*/ 720 w 1000"/>
                <a:gd name="T53" fmla="*/ 50 h 999"/>
                <a:gd name="T54" fmla="*/ 812 w 1000"/>
                <a:gd name="T55" fmla="*/ 110 h 999"/>
                <a:gd name="T56" fmla="*/ 890 w 1000"/>
                <a:gd name="T57" fmla="*/ 187 h 999"/>
                <a:gd name="T58" fmla="*/ 949 w 1000"/>
                <a:gd name="T59" fmla="*/ 280 h 999"/>
                <a:gd name="T60" fmla="*/ 987 w 1000"/>
                <a:gd name="T61" fmla="*/ 386 h 999"/>
                <a:gd name="T62" fmla="*/ 1000 w 1000"/>
                <a:gd name="T63" fmla="*/ 500 h 999"/>
                <a:gd name="T64" fmla="*/ 987 w 1000"/>
                <a:gd name="T65" fmla="*/ 614 h 999"/>
                <a:gd name="T66" fmla="*/ 949 w 1000"/>
                <a:gd name="T67" fmla="*/ 719 h 999"/>
                <a:gd name="T68" fmla="*/ 890 w 1000"/>
                <a:gd name="T69" fmla="*/ 813 h 999"/>
                <a:gd name="T70" fmla="*/ 812 w 1000"/>
                <a:gd name="T71" fmla="*/ 890 h 999"/>
                <a:gd name="T72" fmla="*/ 720 w 1000"/>
                <a:gd name="T73" fmla="*/ 949 h 999"/>
                <a:gd name="T74" fmla="*/ 615 w 1000"/>
                <a:gd name="T75" fmla="*/ 986 h 999"/>
                <a:gd name="T76" fmla="*/ 500 w 1000"/>
                <a:gd name="T77" fmla="*/ 999 h 999"/>
                <a:gd name="T78" fmla="*/ 385 w 1000"/>
                <a:gd name="T79" fmla="*/ 986 h 999"/>
                <a:gd name="T80" fmla="*/ 280 w 1000"/>
                <a:gd name="T81" fmla="*/ 949 h 999"/>
                <a:gd name="T82" fmla="*/ 188 w 1000"/>
                <a:gd name="T83" fmla="*/ 890 h 999"/>
                <a:gd name="T84" fmla="*/ 110 w 1000"/>
                <a:gd name="T85" fmla="*/ 813 h 999"/>
                <a:gd name="T86" fmla="*/ 51 w 1000"/>
                <a:gd name="T87" fmla="*/ 719 h 999"/>
                <a:gd name="T88" fmla="*/ 13 w 1000"/>
                <a:gd name="T89" fmla="*/ 614 h 999"/>
                <a:gd name="T90" fmla="*/ 0 w 1000"/>
                <a:gd name="T91" fmla="*/ 500 h 999"/>
                <a:gd name="T92" fmla="*/ 13 w 1000"/>
                <a:gd name="T93" fmla="*/ 386 h 999"/>
                <a:gd name="T94" fmla="*/ 51 w 1000"/>
                <a:gd name="T95" fmla="*/ 280 h 999"/>
                <a:gd name="T96" fmla="*/ 110 w 1000"/>
                <a:gd name="T97" fmla="*/ 187 h 999"/>
                <a:gd name="T98" fmla="*/ 188 w 1000"/>
                <a:gd name="T99" fmla="*/ 110 h 999"/>
                <a:gd name="T100" fmla="*/ 280 w 1000"/>
                <a:gd name="T101" fmla="*/ 50 h 999"/>
                <a:gd name="T102" fmla="*/ 385 w 1000"/>
                <a:gd name="T103" fmla="*/ 13 h 999"/>
                <a:gd name="T104" fmla="*/ 500 w 1000"/>
                <a:gd name="T105" fmla="*/ 0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0" h="999">
                  <a:moveTo>
                    <a:pt x="500" y="118"/>
                  </a:moveTo>
                  <a:lnTo>
                    <a:pt x="448" y="122"/>
                  </a:lnTo>
                  <a:lnTo>
                    <a:pt x="398" y="132"/>
                  </a:lnTo>
                  <a:lnTo>
                    <a:pt x="351" y="149"/>
                  </a:lnTo>
                  <a:lnTo>
                    <a:pt x="308" y="171"/>
                  </a:lnTo>
                  <a:lnTo>
                    <a:pt x="267" y="198"/>
                  </a:lnTo>
                  <a:lnTo>
                    <a:pt x="230" y="230"/>
                  </a:lnTo>
                  <a:lnTo>
                    <a:pt x="198" y="267"/>
                  </a:lnTo>
                  <a:lnTo>
                    <a:pt x="170" y="308"/>
                  </a:lnTo>
                  <a:lnTo>
                    <a:pt x="148" y="352"/>
                  </a:lnTo>
                  <a:lnTo>
                    <a:pt x="131" y="399"/>
                  </a:lnTo>
                  <a:lnTo>
                    <a:pt x="121" y="449"/>
                  </a:lnTo>
                  <a:lnTo>
                    <a:pt x="118" y="500"/>
                  </a:lnTo>
                  <a:lnTo>
                    <a:pt x="121" y="551"/>
                  </a:lnTo>
                  <a:lnTo>
                    <a:pt x="131" y="601"/>
                  </a:lnTo>
                  <a:lnTo>
                    <a:pt x="148" y="649"/>
                  </a:lnTo>
                  <a:lnTo>
                    <a:pt x="170" y="693"/>
                  </a:lnTo>
                  <a:lnTo>
                    <a:pt x="198" y="733"/>
                  </a:lnTo>
                  <a:lnTo>
                    <a:pt x="230" y="770"/>
                  </a:lnTo>
                  <a:lnTo>
                    <a:pt x="267" y="802"/>
                  </a:lnTo>
                  <a:lnTo>
                    <a:pt x="308" y="830"/>
                  </a:lnTo>
                  <a:lnTo>
                    <a:pt x="351" y="852"/>
                  </a:lnTo>
                  <a:lnTo>
                    <a:pt x="398" y="868"/>
                  </a:lnTo>
                  <a:lnTo>
                    <a:pt x="448" y="878"/>
                  </a:lnTo>
                  <a:lnTo>
                    <a:pt x="500" y="881"/>
                  </a:lnTo>
                  <a:lnTo>
                    <a:pt x="552" y="878"/>
                  </a:lnTo>
                  <a:lnTo>
                    <a:pt x="601" y="868"/>
                  </a:lnTo>
                  <a:lnTo>
                    <a:pt x="649" y="852"/>
                  </a:lnTo>
                  <a:lnTo>
                    <a:pt x="693" y="830"/>
                  </a:lnTo>
                  <a:lnTo>
                    <a:pt x="733" y="802"/>
                  </a:lnTo>
                  <a:lnTo>
                    <a:pt x="770" y="770"/>
                  </a:lnTo>
                  <a:lnTo>
                    <a:pt x="802" y="733"/>
                  </a:lnTo>
                  <a:lnTo>
                    <a:pt x="830" y="693"/>
                  </a:lnTo>
                  <a:lnTo>
                    <a:pt x="852" y="649"/>
                  </a:lnTo>
                  <a:lnTo>
                    <a:pt x="869" y="601"/>
                  </a:lnTo>
                  <a:lnTo>
                    <a:pt x="878" y="551"/>
                  </a:lnTo>
                  <a:lnTo>
                    <a:pt x="882" y="500"/>
                  </a:lnTo>
                  <a:lnTo>
                    <a:pt x="878" y="449"/>
                  </a:lnTo>
                  <a:lnTo>
                    <a:pt x="869" y="399"/>
                  </a:lnTo>
                  <a:lnTo>
                    <a:pt x="852" y="352"/>
                  </a:lnTo>
                  <a:lnTo>
                    <a:pt x="830" y="308"/>
                  </a:lnTo>
                  <a:lnTo>
                    <a:pt x="802" y="267"/>
                  </a:lnTo>
                  <a:lnTo>
                    <a:pt x="770" y="230"/>
                  </a:lnTo>
                  <a:lnTo>
                    <a:pt x="733" y="198"/>
                  </a:lnTo>
                  <a:lnTo>
                    <a:pt x="693" y="171"/>
                  </a:lnTo>
                  <a:lnTo>
                    <a:pt x="649" y="149"/>
                  </a:lnTo>
                  <a:lnTo>
                    <a:pt x="601" y="132"/>
                  </a:lnTo>
                  <a:lnTo>
                    <a:pt x="552" y="122"/>
                  </a:lnTo>
                  <a:lnTo>
                    <a:pt x="500" y="118"/>
                  </a:lnTo>
                  <a:close/>
                  <a:moveTo>
                    <a:pt x="500" y="0"/>
                  </a:moveTo>
                  <a:lnTo>
                    <a:pt x="558" y="3"/>
                  </a:lnTo>
                  <a:lnTo>
                    <a:pt x="615" y="13"/>
                  </a:lnTo>
                  <a:lnTo>
                    <a:pt x="669" y="29"/>
                  </a:lnTo>
                  <a:lnTo>
                    <a:pt x="720" y="50"/>
                  </a:lnTo>
                  <a:lnTo>
                    <a:pt x="768" y="78"/>
                  </a:lnTo>
                  <a:lnTo>
                    <a:pt x="812" y="110"/>
                  </a:lnTo>
                  <a:lnTo>
                    <a:pt x="853" y="146"/>
                  </a:lnTo>
                  <a:lnTo>
                    <a:pt x="890" y="187"/>
                  </a:lnTo>
                  <a:lnTo>
                    <a:pt x="922" y="232"/>
                  </a:lnTo>
                  <a:lnTo>
                    <a:pt x="949" y="280"/>
                  </a:lnTo>
                  <a:lnTo>
                    <a:pt x="971" y="332"/>
                  </a:lnTo>
                  <a:lnTo>
                    <a:pt x="987" y="386"/>
                  </a:lnTo>
                  <a:lnTo>
                    <a:pt x="997" y="442"/>
                  </a:lnTo>
                  <a:lnTo>
                    <a:pt x="1000" y="500"/>
                  </a:lnTo>
                  <a:lnTo>
                    <a:pt x="997" y="558"/>
                  </a:lnTo>
                  <a:lnTo>
                    <a:pt x="987" y="614"/>
                  </a:lnTo>
                  <a:lnTo>
                    <a:pt x="971" y="668"/>
                  </a:lnTo>
                  <a:lnTo>
                    <a:pt x="949" y="719"/>
                  </a:lnTo>
                  <a:lnTo>
                    <a:pt x="922" y="768"/>
                  </a:lnTo>
                  <a:lnTo>
                    <a:pt x="890" y="813"/>
                  </a:lnTo>
                  <a:lnTo>
                    <a:pt x="853" y="854"/>
                  </a:lnTo>
                  <a:lnTo>
                    <a:pt x="812" y="890"/>
                  </a:lnTo>
                  <a:lnTo>
                    <a:pt x="768" y="922"/>
                  </a:lnTo>
                  <a:lnTo>
                    <a:pt x="720" y="949"/>
                  </a:lnTo>
                  <a:lnTo>
                    <a:pt x="669" y="971"/>
                  </a:lnTo>
                  <a:lnTo>
                    <a:pt x="615" y="986"/>
                  </a:lnTo>
                  <a:lnTo>
                    <a:pt x="558" y="996"/>
                  </a:lnTo>
                  <a:lnTo>
                    <a:pt x="500" y="999"/>
                  </a:lnTo>
                  <a:lnTo>
                    <a:pt x="441" y="996"/>
                  </a:lnTo>
                  <a:lnTo>
                    <a:pt x="385" y="986"/>
                  </a:lnTo>
                  <a:lnTo>
                    <a:pt x="331" y="971"/>
                  </a:lnTo>
                  <a:lnTo>
                    <a:pt x="280" y="949"/>
                  </a:lnTo>
                  <a:lnTo>
                    <a:pt x="232" y="922"/>
                  </a:lnTo>
                  <a:lnTo>
                    <a:pt x="188" y="890"/>
                  </a:lnTo>
                  <a:lnTo>
                    <a:pt x="147" y="854"/>
                  </a:lnTo>
                  <a:lnTo>
                    <a:pt x="110" y="813"/>
                  </a:lnTo>
                  <a:lnTo>
                    <a:pt x="78" y="768"/>
                  </a:lnTo>
                  <a:lnTo>
                    <a:pt x="51" y="719"/>
                  </a:lnTo>
                  <a:lnTo>
                    <a:pt x="29" y="668"/>
                  </a:lnTo>
                  <a:lnTo>
                    <a:pt x="13" y="614"/>
                  </a:lnTo>
                  <a:lnTo>
                    <a:pt x="3" y="558"/>
                  </a:lnTo>
                  <a:lnTo>
                    <a:pt x="0" y="500"/>
                  </a:lnTo>
                  <a:lnTo>
                    <a:pt x="3" y="442"/>
                  </a:lnTo>
                  <a:lnTo>
                    <a:pt x="13" y="386"/>
                  </a:lnTo>
                  <a:lnTo>
                    <a:pt x="29" y="332"/>
                  </a:lnTo>
                  <a:lnTo>
                    <a:pt x="51" y="280"/>
                  </a:lnTo>
                  <a:lnTo>
                    <a:pt x="78" y="232"/>
                  </a:lnTo>
                  <a:lnTo>
                    <a:pt x="110" y="187"/>
                  </a:lnTo>
                  <a:lnTo>
                    <a:pt x="147" y="146"/>
                  </a:lnTo>
                  <a:lnTo>
                    <a:pt x="188" y="110"/>
                  </a:lnTo>
                  <a:lnTo>
                    <a:pt x="232" y="78"/>
                  </a:lnTo>
                  <a:lnTo>
                    <a:pt x="280" y="50"/>
                  </a:lnTo>
                  <a:lnTo>
                    <a:pt x="331" y="29"/>
                  </a:lnTo>
                  <a:lnTo>
                    <a:pt x="385" y="13"/>
                  </a:lnTo>
                  <a:lnTo>
                    <a:pt x="441" y="3"/>
                  </a:lnTo>
                  <a:lnTo>
                    <a:pt x="500"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grpSp>
      <p:grpSp>
        <p:nvGrpSpPr>
          <p:cNvPr id="26" name="Group 16"/>
          <p:cNvGrpSpPr>
            <a:grpSpLocks noChangeAspect="1"/>
          </p:cNvGrpSpPr>
          <p:nvPr/>
        </p:nvGrpSpPr>
        <p:grpSpPr bwMode="auto">
          <a:xfrm>
            <a:off x="5885719" y="3235667"/>
            <a:ext cx="241616" cy="241372"/>
            <a:chOff x="364" y="579"/>
            <a:chExt cx="2966" cy="2963"/>
          </a:xfrm>
          <a:solidFill>
            <a:schemeClr val="bg1"/>
          </a:solidFill>
        </p:grpSpPr>
        <p:sp>
          <p:nvSpPr>
            <p:cNvPr id="29" name="Freeform 18"/>
            <p:cNvSpPr>
              <a:spLocks noEditPoints="1"/>
            </p:cNvSpPr>
            <p:nvPr/>
          </p:nvSpPr>
          <p:spPr bwMode="auto">
            <a:xfrm>
              <a:off x="364" y="579"/>
              <a:ext cx="2966" cy="2963"/>
            </a:xfrm>
            <a:custGeom>
              <a:avLst/>
              <a:gdLst>
                <a:gd name="T0" fmla="*/ 208 w 5931"/>
                <a:gd name="T1" fmla="*/ 5324 h 5927"/>
                <a:gd name="T2" fmla="*/ 228 w 5931"/>
                <a:gd name="T3" fmla="*/ 5564 h 5927"/>
                <a:gd name="T4" fmla="*/ 410 w 5931"/>
                <a:gd name="T5" fmla="*/ 5719 h 5927"/>
                <a:gd name="T6" fmla="*/ 650 w 5931"/>
                <a:gd name="T7" fmla="*/ 5701 h 5927"/>
                <a:gd name="T8" fmla="*/ 1737 w 5931"/>
                <a:gd name="T9" fmla="*/ 3880 h 5927"/>
                <a:gd name="T10" fmla="*/ 1533 w 5931"/>
                <a:gd name="T11" fmla="*/ 3955 h 5927"/>
                <a:gd name="T12" fmla="*/ 2051 w 5931"/>
                <a:gd name="T13" fmla="*/ 4193 h 5927"/>
                <a:gd name="T14" fmla="*/ 1959 w 5931"/>
                <a:gd name="T15" fmla="*/ 3972 h 5927"/>
                <a:gd name="T16" fmla="*/ 1737 w 5931"/>
                <a:gd name="T17" fmla="*/ 3880 h 5927"/>
                <a:gd name="T18" fmla="*/ 2123 w 5931"/>
                <a:gd name="T19" fmla="*/ 3867 h 5927"/>
                <a:gd name="T20" fmla="*/ 3888 w 5931"/>
                <a:gd name="T21" fmla="*/ 193 h 5927"/>
                <a:gd name="T22" fmla="*/ 3200 w 5931"/>
                <a:gd name="T23" fmla="*/ 325 h 5927"/>
                <a:gd name="T24" fmla="*/ 2630 w 5931"/>
                <a:gd name="T25" fmla="*/ 687 h 5927"/>
                <a:gd name="T26" fmla="*/ 2226 w 5931"/>
                <a:gd name="T27" fmla="*/ 1230 h 5927"/>
                <a:gd name="T28" fmla="*/ 2043 w 5931"/>
                <a:gd name="T29" fmla="*/ 1897 h 5927"/>
                <a:gd name="T30" fmla="*/ 2123 w 5931"/>
                <a:gd name="T31" fmla="*/ 2599 h 5927"/>
                <a:gd name="T32" fmla="*/ 2444 w 5931"/>
                <a:gd name="T33" fmla="*/ 3198 h 5927"/>
                <a:gd name="T34" fmla="*/ 2955 w 5931"/>
                <a:gd name="T35" fmla="*/ 3640 h 5927"/>
                <a:gd name="T36" fmla="*/ 3603 w 5931"/>
                <a:gd name="T37" fmla="*/ 3871 h 5927"/>
                <a:gd name="T38" fmla="*/ 4312 w 5931"/>
                <a:gd name="T39" fmla="*/ 3844 h 5927"/>
                <a:gd name="T40" fmla="*/ 4937 w 5931"/>
                <a:gd name="T41" fmla="*/ 3566 h 5927"/>
                <a:gd name="T42" fmla="*/ 5413 w 5931"/>
                <a:gd name="T43" fmla="*/ 3090 h 5927"/>
                <a:gd name="T44" fmla="*/ 5691 w 5931"/>
                <a:gd name="T45" fmla="*/ 2466 h 5927"/>
                <a:gd name="T46" fmla="*/ 5718 w 5931"/>
                <a:gd name="T47" fmla="*/ 1757 h 5927"/>
                <a:gd name="T48" fmla="*/ 5487 w 5931"/>
                <a:gd name="T49" fmla="*/ 1109 h 5927"/>
                <a:gd name="T50" fmla="*/ 5045 w 5931"/>
                <a:gd name="T51" fmla="*/ 599 h 5927"/>
                <a:gd name="T52" fmla="*/ 4448 w 5931"/>
                <a:gd name="T53" fmla="*/ 278 h 5927"/>
                <a:gd name="T54" fmla="*/ 3888 w 5931"/>
                <a:gd name="T55" fmla="*/ 0 h 5927"/>
                <a:gd name="T56" fmla="*/ 4615 w 5931"/>
                <a:gd name="T57" fmla="*/ 133 h 5927"/>
                <a:gd name="T58" fmla="*/ 5229 w 5931"/>
                <a:gd name="T59" fmla="*/ 501 h 5927"/>
                <a:gd name="T60" fmla="*/ 5677 w 5931"/>
                <a:gd name="T61" fmla="*/ 1053 h 5927"/>
                <a:gd name="T62" fmla="*/ 5910 w 5931"/>
                <a:gd name="T63" fmla="*/ 1741 h 5927"/>
                <a:gd name="T64" fmla="*/ 5882 w 5931"/>
                <a:gd name="T65" fmla="*/ 2489 h 5927"/>
                <a:gd name="T66" fmla="*/ 5603 w 5931"/>
                <a:gd name="T67" fmla="*/ 3153 h 5927"/>
                <a:gd name="T68" fmla="*/ 5117 w 5931"/>
                <a:gd name="T69" fmla="*/ 3672 h 5927"/>
                <a:gd name="T70" fmla="*/ 4478 w 5931"/>
                <a:gd name="T71" fmla="*/ 3997 h 5927"/>
                <a:gd name="T72" fmla="*/ 3735 w 5931"/>
                <a:gd name="T73" fmla="*/ 4078 h 5927"/>
                <a:gd name="T74" fmla="*/ 3023 w 5931"/>
                <a:gd name="T75" fmla="*/ 3892 h 5927"/>
                <a:gd name="T76" fmla="*/ 2231 w 5931"/>
                <a:gd name="T77" fmla="*/ 4089 h 5927"/>
                <a:gd name="T78" fmla="*/ 2204 w 5931"/>
                <a:gd name="T79" fmla="*/ 4386 h 5927"/>
                <a:gd name="T80" fmla="*/ 814 w 5931"/>
                <a:gd name="T81" fmla="*/ 5822 h 5927"/>
                <a:gd name="T82" fmla="*/ 507 w 5931"/>
                <a:gd name="T83" fmla="*/ 5927 h 5927"/>
                <a:gd name="T84" fmla="*/ 199 w 5931"/>
                <a:gd name="T85" fmla="*/ 5822 h 5927"/>
                <a:gd name="T86" fmla="*/ 18 w 5931"/>
                <a:gd name="T87" fmla="*/ 5553 h 5927"/>
                <a:gd name="T88" fmla="*/ 40 w 5931"/>
                <a:gd name="T89" fmla="*/ 5227 h 5927"/>
                <a:gd name="T90" fmla="*/ 1430 w 5931"/>
                <a:gd name="T91" fmla="*/ 3791 h 5927"/>
                <a:gd name="T92" fmla="*/ 1737 w 5931"/>
                <a:gd name="T93" fmla="*/ 3687 h 5927"/>
                <a:gd name="T94" fmla="*/ 2179 w 5931"/>
                <a:gd name="T95" fmla="*/ 3158 h 5927"/>
                <a:gd name="T96" fmla="*/ 1895 w 5931"/>
                <a:gd name="T97" fmla="*/ 2491 h 5927"/>
                <a:gd name="T98" fmla="*/ 1868 w 5931"/>
                <a:gd name="T99" fmla="*/ 1741 h 5927"/>
                <a:gd name="T100" fmla="*/ 2101 w 5931"/>
                <a:gd name="T101" fmla="*/ 1053 h 5927"/>
                <a:gd name="T102" fmla="*/ 2549 w 5931"/>
                <a:gd name="T103" fmla="*/ 501 h 5927"/>
                <a:gd name="T104" fmla="*/ 3161 w 5931"/>
                <a:gd name="T105" fmla="*/ 133 h 5927"/>
                <a:gd name="T106" fmla="*/ 3888 w 5931"/>
                <a:gd name="T107" fmla="*/ 0 h 5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31" h="5927">
                  <a:moveTo>
                    <a:pt x="1395" y="4091"/>
                  </a:moveTo>
                  <a:lnTo>
                    <a:pt x="285" y="5200"/>
                  </a:lnTo>
                  <a:lnTo>
                    <a:pt x="253" y="5238"/>
                  </a:lnTo>
                  <a:lnTo>
                    <a:pt x="228" y="5279"/>
                  </a:lnTo>
                  <a:lnTo>
                    <a:pt x="208" y="5324"/>
                  </a:lnTo>
                  <a:lnTo>
                    <a:pt x="197" y="5371"/>
                  </a:lnTo>
                  <a:lnTo>
                    <a:pt x="193" y="5422"/>
                  </a:lnTo>
                  <a:lnTo>
                    <a:pt x="197" y="5470"/>
                  </a:lnTo>
                  <a:lnTo>
                    <a:pt x="208" y="5519"/>
                  </a:lnTo>
                  <a:lnTo>
                    <a:pt x="228" y="5564"/>
                  </a:lnTo>
                  <a:lnTo>
                    <a:pt x="253" y="5606"/>
                  </a:lnTo>
                  <a:lnTo>
                    <a:pt x="285" y="5644"/>
                  </a:lnTo>
                  <a:lnTo>
                    <a:pt x="323" y="5676"/>
                  </a:lnTo>
                  <a:lnTo>
                    <a:pt x="365" y="5701"/>
                  </a:lnTo>
                  <a:lnTo>
                    <a:pt x="410" y="5719"/>
                  </a:lnTo>
                  <a:lnTo>
                    <a:pt x="457" y="5732"/>
                  </a:lnTo>
                  <a:lnTo>
                    <a:pt x="507" y="5736"/>
                  </a:lnTo>
                  <a:lnTo>
                    <a:pt x="556" y="5732"/>
                  </a:lnTo>
                  <a:lnTo>
                    <a:pt x="605" y="5719"/>
                  </a:lnTo>
                  <a:lnTo>
                    <a:pt x="650" y="5701"/>
                  </a:lnTo>
                  <a:lnTo>
                    <a:pt x="691" y="5676"/>
                  </a:lnTo>
                  <a:lnTo>
                    <a:pt x="729" y="5644"/>
                  </a:lnTo>
                  <a:lnTo>
                    <a:pt x="1839" y="4533"/>
                  </a:lnTo>
                  <a:lnTo>
                    <a:pt x="1395" y="4091"/>
                  </a:lnTo>
                  <a:close/>
                  <a:moveTo>
                    <a:pt x="1737" y="3880"/>
                  </a:moveTo>
                  <a:lnTo>
                    <a:pt x="1693" y="3881"/>
                  </a:lnTo>
                  <a:lnTo>
                    <a:pt x="1650" y="3890"/>
                  </a:lnTo>
                  <a:lnTo>
                    <a:pt x="1608" y="3907"/>
                  </a:lnTo>
                  <a:lnTo>
                    <a:pt x="1569" y="3928"/>
                  </a:lnTo>
                  <a:lnTo>
                    <a:pt x="1533" y="3955"/>
                  </a:lnTo>
                  <a:lnTo>
                    <a:pt x="1975" y="4397"/>
                  </a:lnTo>
                  <a:lnTo>
                    <a:pt x="2007" y="4352"/>
                  </a:lnTo>
                  <a:lnTo>
                    <a:pt x="2031" y="4302"/>
                  </a:lnTo>
                  <a:lnTo>
                    <a:pt x="2045" y="4249"/>
                  </a:lnTo>
                  <a:lnTo>
                    <a:pt x="2051" y="4193"/>
                  </a:lnTo>
                  <a:lnTo>
                    <a:pt x="2047" y="4143"/>
                  </a:lnTo>
                  <a:lnTo>
                    <a:pt x="2034" y="4096"/>
                  </a:lnTo>
                  <a:lnTo>
                    <a:pt x="2016" y="4051"/>
                  </a:lnTo>
                  <a:lnTo>
                    <a:pt x="1991" y="4010"/>
                  </a:lnTo>
                  <a:lnTo>
                    <a:pt x="1959" y="3972"/>
                  </a:lnTo>
                  <a:lnTo>
                    <a:pt x="1919" y="3937"/>
                  </a:lnTo>
                  <a:lnTo>
                    <a:pt x="1877" y="3912"/>
                  </a:lnTo>
                  <a:lnTo>
                    <a:pt x="1832" y="3894"/>
                  </a:lnTo>
                  <a:lnTo>
                    <a:pt x="1785" y="3883"/>
                  </a:lnTo>
                  <a:lnTo>
                    <a:pt x="1737" y="3880"/>
                  </a:lnTo>
                  <a:close/>
                  <a:moveTo>
                    <a:pt x="2386" y="3423"/>
                  </a:moveTo>
                  <a:lnTo>
                    <a:pt x="2029" y="3780"/>
                  </a:lnTo>
                  <a:lnTo>
                    <a:pt x="2063" y="3806"/>
                  </a:lnTo>
                  <a:lnTo>
                    <a:pt x="2094" y="3835"/>
                  </a:lnTo>
                  <a:lnTo>
                    <a:pt x="2123" y="3867"/>
                  </a:lnTo>
                  <a:lnTo>
                    <a:pt x="2150" y="3899"/>
                  </a:lnTo>
                  <a:lnTo>
                    <a:pt x="2505" y="3544"/>
                  </a:lnTo>
                  <a:lnTo>
                    <a:pt x="2444" y="3485"/>
                  </a:lnTo>
                  <a:lnTo>
                    <a:pt x="2386" y="3423"/>
                  </a:lnTo>
                  <a:close/>
                  <a:moveTo>
                    <a:pt x="3888" y="193"/>
                  </a:moveTo>
                  <a:lnTo>
                    <a:pt x="3744" y="198"/>
                  </a:lnTo>
                  <a:lnTo>
                    <a:pt x="3603" y="215"/>
                  </a:lnTo>
                  <a:lnTo>
                    <a:pt x="3464" y="242"/>
                  </a:lnTo>
                  <a:lnTo>
                    <a:pt x="3330" y="278"/>
                  </a:lnTo>
                  <a:lnTo>
                    <a:pt x="3200" y="325"/>
                  </a:lnTo>
                  <a:lnTo>
                    <a:pt x="3076" y="381"/>
                  </a:lnTo>
                  <a:lnTo>
                    <a:pt x="2955" y="446"/>
                  </a:lnTo>
                  <a:lnTo>
                    <a:pt x="2841" y="518"/>
                  </a:lnTo>
                  <a:lnTo>
                    <a:pt x="2731" y="599"/>
                  </a:lnTo>
                  <a:lnTo>
                    <a:pt x="2630" y="687"/>
                  </a:lnTo>
                  <a:lnTo>
                    <a:pt x="2533" y="783"/>
                  </a:lnTo>
                  <a:lnTo>
                    <a:pt x="2444" y="886"/>
                  </a:lnTo>
                  <a:lnTo>
                    <a:pt x="2365" y="996"/>
                  </a:lnTo>
                  <a:lnTo>
                    <a:pt x="2291" y="1109"/>
                  </a:lnTo>
                  <a:lnTo>
                    <a:pt x="2226" y="1230"/>
                  </a:lnTo>
                  <a:lnTo>
                    <a:pt x="2170" y="1355"/>
                  </a:lnTo>
                  <a:lnTo>
                    <a:pt x="2123" y="1484"/>
                  </a:lnTo>
                  <a:lnTo>
                    <a:pt x="2087" y="1618"/>
                  </a:lnTo>
                  <a:lnTo>
                    <a:pt x="2060" y="1757"/>
                  </a:lnTo>
                  <a:lnTo>
                    <a:pt x="2043" y="1897"/>
                  </a:lnTo>
                  <a:lnTo>
                    <a:pt x="2038" y="2042"/>
                  </a:lnTo>
                  <a:lnTo>
                    <a:pt x="2043" y="2186"/>
                  </a:lnTo>
                  <a:lnTo>
                    <a:pt x="2060" y="2329"/>
                  </a:lnTo>
                  <a:lnTo>
                    <a:pt x="2087" y="2466"/>
                  </a:lnTo>
                  <a:lnTo>
                    <a:pt x="2123" y="2599"/>
                  </a:lnTo>
                  <a:lnTo>
                    <a:pt x="2170" y="2729"/>
                  </a:lnTo>
                  <a:lnTo>
                    <a:pt x="2226" y="2855"/>
                  </a:lnTo>
                  <a:lnTo>
                    <a:pt x="2291" y="2974"/>
                  </a:lnTo>
                  <a:lnTo>
                    <a:pt x="2365" y="3090"/>
                  </a:lnTo>
                  <a:lnTo>
                    <a:pt x="2444" y="3198"/>
                  </a:lnTo>
                  <a:lnTo>
                    <a:pt x="2533" y="3301"/>
                  </a:lnTo>
                  <a:lnTo>
                    <a:pt x="2630" y="3396"/>
                  </a:lnTo>
                  <a:lnTo>
                    <a:pt x="2731" y="3485"/>
                  </a:lnTo>
                  <a:lnTo>
                    <a:pt x="2841" y="3566"/>
                  </a:lnTo>
                  <a:lnTo>
                    <a:pt x="2955" y="3640"/>
                  </a:lnTo>
                  <a:lnTo>
                    <a:pt x="3076" y="3703"/>
                  </a:lnTo>
                  <a:lnTo>
                    <a:pt x="3200" y="3759"/>
                  </a:lnTo>
                  <a:lnTo>
                    <a:pt x="3330" y="3806"/>
                  </a:lnTo>
                  <a:lnTo>
                    <a:pt x="3464" y="3844"/>
                  </a:lnTo>
                  <a:lnTo>
                    <a:pt x="3603" y="3871"/>
                  </a:lnTo>
                  <a:lnTo>
                    <a:pt x="3744" y="3887"/>
                  </a:lnTo>
                  <a:lnTo>
                    <a:pt x="3888" y="3892"/>
                  </a:lnTo>
                  <a:lnTo>
                    <a:pt x="4032" y="3887"/>
                  </a:lnTo>
                  <a:lnTo>
                    <a:pt x="4175" y="3871"/>
                  </a:lnTo>
                  <a:lnTo>
                    <a:pt x="4312" y="3844"/>
                  </a:lnTo>
                  <a:lnTo>
                    <a:pt x="4448" y="3806"/>
                  </a:lnTo>
                  <a:lnTo>
                    <a:pt x="4576" y="3759"/>
                  </a:lnTo>
                  <a:lnTo>
                    <a:pt x="4702" y="3703"/>
                  </a:lnTo>
                  <a:lnTo>
                    <a:pt x="4821" y="3640"/>
                  </a:lnTo>
                  <a:lnTo>
                    <a:pt x="4937" y="3566"/>
                  </a:lnTo>
                  <a:lnTo>
                    <a:pt x="5045" y="3485"/>
                  </a:lnTo>
                  <a:lnTo>
                    <a:pt x="5148" y="3396"/>
                  </a:lnTo>
                  <a:lnTo>
                    <a:pt x="5243" y="3301"/>
                  </a:lnTo>
                  <a:lnTo>
                    <a:pt x="5332" y="3198"/>
                  </a:lnTo>
                  <a:lnTo>
                    <a:pt x="5413" y="3090"/>
                  </a:lnTo>
                  <a:lnTo>
                    <a:pt x="5487" y="2974"/>
                  </a:lnTo>
                  <a:lnTo>
                    <a:pt x="5550" y="2855"/>
                  </a:lnTo>
                  <a:lnTo>
                    <a:pt x="5606" y="2729"/>
                  </a:lnTo>
                  <a:lnTo>
                    <a:pt x="5653" y="2599"/>
                  </a:lnTo>
                  <a:lnTo>
                    <a:pt x="5691" y="2466"/>
                  </a:lnTo>
                  <a:lnTo>
                    <a:pt x="5718" y="2329"/>
                  </a:lnTo>
                  <a:lnTo>
                    <a:pt x="5734" y="2186"/>
                  </a:lnTo>
                  <a:lnTo>
                    <a:pt x="5740" y="2042"/>
                  </a:lnTo>
                  <a:lnTo>
                    <a:pt x="5734" y="1897"/>
                  </a:lnTo>
                  <a:lnTo>
                    <a:pt x="5718" y="1757"/>
                  </a:lnTo>
                  <a:lnTo>
                    <a:pt x="5691" y="1618"/>
                  </a:lnTo>
                  <a:lnTo>
                    <a:pt x="5653" y="1484"/>
                  </a:lnTo>
                  <a:lnTo>
                    <a:pt x="5606" y="1355"/>
                  </a:lnTo>
                  <a:lnTo>
                    <a:pt x="5550" y="1230"/>
                  </a:lnTo>
                  <a:lnTo>
                    <a:pt x="5487" y="1109"/>
                  </a:lnTo>
                  <a:lnTo>
                    <a:pt x="5413" y="996"/>
                  </a:lnTo>
                  <a:lnTo>
                    <a:pt x="5332" y="886"/>
                  </a:lnTo>
                  <a:lnTo>
                    <a:pt x="5243" y="783"/>
                  </a:lnTo>
                  <a:lnTo>
                    <a:pt x="5148" y="687"/>
                  </a:lnTo>
                  <a:lnTo>
                    <a:pt x="5045" y="599"/>
                  </a:lnTo>
                  <a:lnTo>
                    <a:pt x="4937" y="518"/>
                  </a:lnTo>
                  <a:lnTo>
                    <a:pt x="4821" y="446"/>
                  </a:lnTo>
                  <a:lnTo>
                    <a:pt x="4702" y="381"/>
                  </a:lnTo>
                  <a:lnTo>
                    <a:pt x="4576" y="325"/>
                  </a:lnTo>
                  <a:lnTo>
                    <a:pt x="4448" y="278"/>
                  </a:lnTo>
                  <a:lnTo>
                    <a:pt x="4312" y="242"/>
                  </a:lnTo>
                  <a:lnTo>
                    <a:pt x="4175" y="215"/>
                  </a:lnTo>
                  <a:lnTo>
                    <a:pt x="4032" y="198"/>
                  </a:lnTo>
                  <a:lnTo>
                    <a:pt x="3888" y="193"/>
                  </a:lnTo>
                  <a:close/>
                  <a:moveTo>
                    <a:pt x="3888" y="0"/>
                  </a:moveTo>
                  <a:lnTo>
                    <a:pt x="4041" y="5"/>
                  </a:lnTo>
                  <a:lnTo>
                    <a:pt x="4189" y="23"/>
                  </a:lnTo>
                  <a:lnTo>
                    <a:pt x="4336" y="51"/>
                  </a:lnTo>
                  <a:lnTo>
                    <a:pt x="4478" y="87"/>
                  </a:lnTo>
                  <a:lnTo>
                    <a:pt x="4615" y="133"/>
                  </a:lnTo>
                  <a:lnTo>
                    <a:pt x="4749" y="191"/>
                  </a:lnTo>
                  <a:lnTo>
                    <a:pt x="4877" y="256"/>
                  </a:lnTo>
                  <a:lnTo>
                    <a:pt x="5000" y="330"/>
                  </a:lnTo>
                  <a:lnTo>
                    <a:pt x="5117" y="411"/>
                  </a:lnTo>
                  <a:lnTo>
                    <a:pt x="5229" y="501"/>
                  </a:lnTo>
                  <a:lnTo>
                    <a:pt x="5332" y="599"/>
                  </a:lnTo>
                  <a:lnTo>
                    <a:pt x="5429" y="703"/>
                  </a:lnTo>
                  <a:lnTo>
                    <a:pt x="5520" y="813"/>
                  </a:lnTo>
                  <a:lnTo>
                    <a:pt x="5603" y="931"/>
                  </a:lnTo>
                  <a:lnTo>
                    <a:pt x="5677" y="1053"/>
                  </a:lnTo>
                  <a:lnTo>
                    <a:pt x="5742" y="1183"/>
                  </a:lnTo>
                  <a:lnTo>
                    <a:pt x="5798" y="1315"/>
                  </a:lnTo>
                  <a:lnTo>
                    <a:pt x="5845" y="1454"/>
                  </a:lnTo>
                  <a:lnTo>
                    <a:pt x="5882" y="1594"/>
                  </a:lnTo>
                  <a:lnTo>
                    <a:pt x="5910" y="1741"/>
                  </a:lnTo>
                  <a:lnTo>
                    <a:pt x="5926" y="1890"/>
                  </a:lnTo>
                  <a:lnTo>
                    <a:pt x="5931" y="2042"/>
                  </a:lnTo>
                  <a:lnTo>
                    <a:pt x="5926" y="2195"/>
                  </a:lnTo>
                  <a:lnTo>
                    <a:pt x="5910" y="2343"/>
                  </a:lnTo>
                  <a:lnTo>
                    <a:pt x="5882" y="2489"/>
                  </a:lnTo>
                  <a:lnTo>
                    <a:pt x="5845" y="2632"/>
                  </a:lnTo>
                  <a:lnTo>
                    <a:pt x="5798" y="2769"/>
                  </a:lnTo>
                  <a:lnTo>
                    <a:pt x="5742" y="2902"/>
                  </a:lnTo>
                  <a:lnTo>
                    <a:pt x="5677" y="3030"/>
                  </a:lnTo>
                  <a:lnTo>
                    <a:pt x="5603" y="3153"/>
                  </a:lnTo>
                  <a:lnTo>
                    <a:pt x="5520" y="3270"/>
                  </a:lnTo>
                  <a:lnTo>
                    <a:pt x="5429" y="3380"/>
                  </a:lnTo>
                  <a:lnTo>
                    <a:pt x="5332" y="3485"/>
                  </a:lnTo>
                  <a:lnTo>
                    <a:pt x="5229" y="3582"/>
                  </a:lnTo>
                  <a:lnTo>
                    <a:pt x="5117" y="3672"/>
                  </a:lnTo>
                  <a:lnTo>
                    <a:pt x="5000" y="3755"/>
                  </a:lnTo>
                  <a:lnTo>
                    <a:pt x="4877" y="3829"/>
                  </a:lnTo>
                  <a:lnTo>
                    <a:pt x="4749" y="3894"/>
                  </a:lnTo>
                  <a:lnTo>
                    <a:pt x="4615" y="3950"/>
                  </a:lnTo>
                  <a:lnTo>
                    <a:pt x="4478" y="3997"/>
                  </a:lnTo>
                  <a:lnTo>
                    <a:pt x="4336" y="4035"/>
                  </a:lnTo>
                  <a:lnTo>
                    <a:pt x="4189" y="4062"/>
                  </a:lnTo>
                  <a:lnTo>
                    <a:pt x="4041" y="4078"/>
                  </a:lnTo>
                  <a:lnTo>
                    <a:pt x="3888" y="4083"/>
                  </a:lnTo>
                  <a:lnTo>
                    <a:pt x="3735" y="4078"/>
                  </a:lnTo>
                  <a:lnTo>
                    <a:pt x="3585" y="4062"/>
                  </a:lnTo>
                  <a:lnTo>
                    <a:pt x="3439" y="4035"/>
                  </a:lnTo>
                  <a:lnTo>
                    <a:pt x="3296" y="3997"/>
                  </a:lnTo>
                  <a:lnTo>
                    <a:pt x="3157" y="3948"/>
                  </a:lnTo>
                  <a:lnTo>
                    <a:pt x="3023" y="3892"/>
                  </a:lnTo>
                  <a:lnTo>
                    <a:pt x="2895" y="3826"/>
                  </a:lnTo>
                  <a:lnTo>
                    <a:pt x="2771" y="3752"/>
                  </a:lnTo>
                  <a:lnTo>
                    <a:pt x="2653" y="3669"/>
                  </a:lnTo>
                  <a:lnTo>
                    <a:pt x="2240" y="4082"/>
                  </a:lnTo>
                  <a:lnTo>
                    <a:pt x="2231" y="4089"/>
                  </a:lnTo>
                  <a:lnTo>
                    <a:pt x="2240" y="4139"/>
                  </a:lnTo>
                  <a:lnTo>
                    <a:pt x="2242" y="4193"/>
                  </a:lnTo>
                  <a:lnTo>
                    <a:pt x="2238" y="4260"/>
                  </a:lnTo>
                  <a:lnTo>
                    <a:pt x="2226" y="4323"/>
                  </a:lnTo>
                  <a:lnTo>
                    <a:pt x="2204" y="4386"/>
                  </a:lnTo>
                  <a:lnTo>
                    <a:pt x="2175" y="4444"/>
                  </a:lnTo>
                  <a:lnTo>
                    <a:pt x="2139" y="4500"/>
                  </a:lnTo>
                  <a:lnTo>
                    <a:pt x="2094" y="4551"/>
                  </a:lnTo>
                  <a:lnTo>
                    <a:pt x="865" y="5779"/>
                  </a:lnTo>
                  <a:lnTo>
                    <a:pt x="814" y="5822"/>
                  </a:lnTo>
                  <a:lnTo>
                    <a:pt x="760" y="5860"/>
                  </a:lnTo>
                  <a:lnTo>
                    <a:pt x="701" y="5889"/>
                  </a:lnTo>
                  <a:lnTo>
                    <a:pt x="639" y="5911"/>
                  </a:lnTo>
                  <a:lnTo>
                    <a:pt x="574" y="5923"/>
                  </a:lnTo>
                  <a:lnTo>
                    <a:pt x="507" y="5927"/>
                  </a:lnTo>
                  <a:lnTo>
                    <a:pt x="441" y="5923"/>
                  </a:lnTo>
                  <a:lnTo>
                    <a:pt x="376" y="5911"/>
                  </a:lnTo>
                  <a:lnTo>
                    <a:pt x="312" y="5889"/>
                  </a:lnTo>
                  <a:lnTo>
                    <a:pt x="255" y="5860"/>
                  </a:lnTo>
                  <a:lnTo>
                    <a:pt x="199" y="5822"/>
                  </a:lnTo>
                  <a:lnTo>
                    <a:pt x="150" y="5779"/>
                  </a:lnTo>
                  <a:lnTo>
                    <a:pt x="105" y="5728"/>
                  </a:lnTo>
                  <a:lnTo>
                    <a:pt x="69" y="5674"/>
                  </a:lnTo>
                  <a:lnTo>
                    <a:pt x="40" y="5615"/>
                  </a:lnTo>
                  <a:lnTo>
                    <a:pt x="18" y="5553"/>
                  </a:lnTo>
                  <a:lnTo>
                    <a:pt x="6" y="5488"/>
                  </a:lnTo>
                  <a:lnTo>
                    <a:pt x="0" y="5422"/>
                  </a:lnTo>
                  <a:lnTo>
                    <a:pt x="6" y="5355"/>
                  </a:lnTo>
                  <a:lnTo>
                    <a:pt x="18" y="5290"/>
                  </a:lnTo>
                  <a:lnTo>
                    <a:pt x="40" y="5227"/>
                  </a:lnTo>
                  <a:lnTo>
                    <a:pt x="69" y="5169"/>
                  </a:lnTo>
                  <a:lnTo>
                    <a:pt x="105" y="5113"/>
                  </a:lnTo>
                  <a:lnTo>
                    <a:pt x="150" y="5065"/>
                  </a:lnTo>
                  <a:lnTo>
                    <a:pt x="1379" y="3835"/>
                  </a:lnTo>
                  <a:lnTo>
                    <a:pt x="1430" y="3791"/>
                  </a:lnTo>
                  <a:lnTo>
                    <a:pt x="1484" y="3753"/>
                  </a:lnTo>
                  <a:lnTo>
                    <a:pt x="1543" y="3725"/>
                  </a:lnTo>
                  <a:lnTo>
                    <a:pt x="1605" y="3705"/>
                  </a:lnTo>
                  <a:lnTo>
                    <a:pt x="1670" y="3692"/>
                  </a:lnTo>
                  <a:lnTo>
                    <a:pt x="1737" y="3687"/>
                  </a:lnTo>
                  <a:lnTo>
                    <a:pt x="1789" y="3690"/>
                  </a:lnTo>
                  <a:lnTo>
                    <a:pt x="1841" y="3697"/>
                  </a:lnTo>
                  <a:lnTo>
                    <a:pt x="1848" y="3690"/>
                  </a:lnTo>
                  <a:lnTo>
                    <a:pt x="2262" y="3275"/>
                  </a:lnTo>
                  <a:lnTo>
                    <a:pt x="2179" y="3158"/>
                  </a:lnTo>
                  <a:lnTo>
                    <a:pt x="2105" y="3036"/>
                  </a:lnTo>
                  <a:lnTo>
                    <a:pt x="2038" y="2907"/>
                  </a:lnTo>
                  <a:lnTo>
                    <a:pt x="1980" y="2772"/>
                  </a:lnTo>
                  <a:lnTo>
                    <a:pt x="1933" y="2635"/>
                  </a:lnTo>
                  <a:lnTo>
                    <a:pt x="1895" y="2491"/>
                  </a:lnTo>
                  <a:lnTo>
                    <a:pt x="1868" y="2345"/>
                  </a:lnTo>
                  <a:lnTo>
                    <a:pt x="1852" y="2195"/>
                  </a:lnTo>
                  <a:lnTo>
                    <a:pt x="1845" y="2042"/>
                  </a:lnTo>
                  <a:lnTo>
                    <a:pt x="1850" y="1890"/>
                  </a:lnTo>
                  <a:lnTo>
                    <a:pt x="1868" y="1741"/>
                  </a:lnTo>
                  <a:lnTo>
                    <a:pt x="1895" y="1594"/>
                  </a:lnTo>
                  <a:lnTo>
                    <a:pt x="1931" y="1454"/>
                  </a:lnTo>
                  <a:lnTo>
                    <a:pt x="1978" y="1315"/>
                  </a:lnTo>
                  <a:lnTo>
                    <a:pt x="2036" y="1183"/>
                  </a:lnTo>
                  <a:lnTo>
                    <a:pt x="2101" y="1053"/>
                  </a:lnTo>
                  <a:lnTo>
                    <a:pt x="2175" y="931"/>
                  </a:lnTo>
                  <a:lnTo>
                    <a:pt x="2258" y="813"/>
                  </a:lnTo>
                  <a:lnTo>
                    <a:pt x="2347" y="703"/>
                  </a:lnTo>
                  <a:lnTo>
                    <a:pt x="2444" y="599"/>
                  </a:lnTo>
                  <a:lnTo>
                    <a:pt x="2549" y="501"/>
                  </a:lnTo>
                  <a:lnTo>
                    <a:pt x="2661" y="411"/>
                  </a:lnTo>
                  <a:lnTo>
                    <a:pt x="2776" y="330"/>
                  </a:lnTo>
                  <a:lnTo>
                    <a:pt x="2899" y="256"/>
                  </a:lnTo>
                  <a:lnTo>
                    <a:pt x="3029" y="191"/>
                  </a:lnTo>
                  <a:lnTo>
                    <a:pt x="3161" y="133"/>
                  </a:lnTo>
                  <a:lnTo>
                    <a:pt x="3300" y="87"/>
                  </a:lnTo>
                  <a:lnTo>
                    <a:pt x="3440" y="51"/>
                  </a:lnTo>
                  <a:lnTo>
                    <a:pt x="3587" y="23"/>
                  </a:lnTo>
                  <a:lnTo>
                    <a:pt x="3736" y="5"/>
                  </a:lnTo>
                  <a:lnTo>
                    <a:pt x="3888"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sp>
          <p:nvSpPr>
            <p:cNvPr id="30" name="Freeform 19"/>
            <p:cNvSpPr>
              <a:spLocks noEditPoints="1"/>
            </p:cNvSpPr>
            <p:nvPr/>
          </p:nvSpPr>
          <p:spPr bwMode="auto">
            <a:xfrm>
              <a:off x="1491" y="783"/>
              <a:ext cx="1634" cy="1633"/>
            </a:xfrm>
            <a:custGeom>
              <a:avLst/>
              <a:gdLst>
                <a:gd name="T0" fmla="*/ 1388 w 3266"/>
                <a:gd name="T1" fmla="*/ 213 h 3265"/>
                <a:gd name="T2" fmla="*/ 1046 w 3266"/>
                <a:gd name="T3" fmla="*/ 318 h 3265"/>
                <a:gd name="T4" fmla="*/ 745 w 3266"/>
                <a:gd name="T5" fmla="*/ 500 h 3265"/>
                <a:gd name="T6" fmla="*/ 500 w 3266"/>
                <a:gd name="T7" fmla="*/ 745 h 3265"/>
                <a:gd name="T8" fmla="*/ 317 w 3266"/>
                <a:gd name="T9" fmla="*/ 1047 h 3265"/>
                <a:gd name="T10" fmla="*/ 214 w 3266"/>
                <a:gd name="T11" fmla="*/ 1387 h 3265"/>
                <a:gd name="T12" fmla="*/ 198 w 3266"/>
                <a:gd name="T13" fmla="*/ 1757 h 3265"/>
                <a:gd name="T14" fmla="*/ 274 w 3266"/>
                <a:gd name="T15" fmla="*/ 2111 h 3265"/>
                <a:gd name="T16" fmla="*/ 431 w 3266"/>
                <a:gd name="T17" fmla="*/ 2426 h 3265"/>
                <a:gd name="T18" fmla="*/ 657 w 3266"/>
                <a:gd name="T19" fmla="*/ 2691 h 3265"/>
                <a:gd name="T20" fmla="*/ 942 w 3266"/>
                <a:gd name="T21" fmla="*/ 2895 h 3265"/>
                <a:gd name="T22" fmla="*/ 1270 w 3266"/>
                <a:gd name="T23" fmla="*/ 3027 h 3265"/>
                <a:gd name="T24" fmla="*/ 1633 w 3266"/>
                <a:gd name="T25" fmla="*/ 3074 h 3265"/>
                <a:gd name="T26" fmla="*/ 1998 w 3266"/>
                <a:gd name="T27" fmla="*/ 3027 h 3265"/>
                <a:gd name="T28" fmla="*/ 2326 w 3266"/>
                <a:gd name="T29" fmla="*/ 2895 h 3265"/>
                <a:gd name="T30" fmla="*/ 2609 w 3266"/>
                <a:gd name="T31" fmla="*/ 2691 h 3265"/>
                <a:gd name="T32" fmla="*/ 2837 w 3266"/>
                <a:gd name="T33" fmla="*/ 2426 h 3265"/>
                <a:gd name="T34" fmla="*/ 2994 w 3266"/>
                <a:gd name="T35" fmla="*/ 2111 h 3265"/>
                <a:gd name="T36" fmla="*/ 3070 w 3266"/>
                <a:gd name="T37" fmla="*/ 1757 h 3265"/>
                <a:gd name="T38" fmla="*/ 3053 w 3266"/>
                <a:gd name="T39" fmla="*/ 1387 h 3265"/>
                <a:gd name="T40" fmla="*/ 2949 w 3266"/>
                <a:gd name="T41" fmla="*/ 1047 h 3265"/>
                <a:gd name="T42" fmla="*/ 2768 w 3266"/>
                <a:gd name="T43" fmla="*/ 745 h 3265"/>
                <a:gd name="T44" fmla="*/ 2521 w 3266"/>
                <a:gd name="T45" fmla="*/ 500 h 3265"/>
                <a:gd name="T46" fmla="*/ 2221 w 3266"/>
                <a:gd name="T47" fmla="*/ 318 h 3265"/>
                <a:gd name="T48" fmla="*/ 1878 w 3266"/>
                <a:gd name="T49" fmla="*/ 213 h 3265"/>
                <a:gd name="T50" fmla="*/ 1633 w 3266"/>
                <a:gd name="T51" fmla="*/ 0 h 3265"/>
                <a:gd name="T52" fmla="*/ 2025 w 3266"/>
                <a:gd name="T53" fmla="*/ 49 h 3265"/>
                <a:gd name="T54" fmla="*/ 2384 w 3266"/>
                <a:gd name="T55" fmla="*/ 184 h 3265"/>
                <a:gd name="T56" fmla="*/ 2696 w 3266"/>
                <a:gd name="T57" fmla="*/ 395 h 3265"/>
                <a:gd name="T58" fmla="*/ 2951 w 3266"/>
                <a:gd name="T59" fmla="*/ 670 h 3265"/>
                <a:gd name="T60" fmla="*/ 3138 w 3266"/>
                <a:gd name="T61" fmla="*/ 998 h 3265"/>
                <a:gd name="T62" fmla="*/ 3245 w 3266"/>
                <a:gd name="T63" fmla="*/ 1369 h 3265"/>
                <a:gd name="T64" fmla="*/ 3261 w 3266"/>
                <a:gd name="T65" fmla="*/ 1766 h 3265"/>
                <a:gd name="T66" fmla="*/ 3183 w 3266"/>
                <a:gd name="T67" fmla="*/ 2149 h 3265"/>
                <a:gd name="T68" fmla="*/ 3021 w 3266"/>
                <a:gd name="T69" fmla="*/ 2493 h 3265"/>
                <a:gd name="T70" fmla="*/ 2788 w 3266"/>
                <a:gd name="T71" fmla="*/ 2787 h 3265"/>
                <a:gd name="T72" fmla="*/ 2494 w 3266"/>
                <a:gd name="T73" fmla="*/ 3020 h 3265"/>
                <a:gd name="T74" fmla="*/ 2149 w 3266"/>
                <a:gd name="T75" fmla="*/ 3182 h 3265"/>
                <a:gd name="T76" fmla="*/ 1767 w 3266"/>
                <a:gd name="T77" fmla="*/ 3260 h 3265"/>
                <a:gd name="T78" fmla="*/ 1369 w 3266"/>
                <a:gd name="T79" fmla="*/ 3243 h 3265"/>
                <a:gd name="T80" fmla="*/ 998 w 3266"/>
                <a:gd name="T81" fmla="*/ 3137 h 3265"/>
                <a:gd name="T82" fmla="*/ 669 w 3266"/>
                <a:gd name="T83" fmla="*/ 2949 h 3265"/>
                <a:gd name="T84" fmla="*/ 395 w 3266"/>
                <a:gd name="T85" fmla="*/ 2695 h 3265"/>
                <a:gd name="T86" fmla="*/ 184 w 3266"/>
                <a:gd name="T87" fmla="*/ 2383 h 3265"/>
                <a:gd name="T88" fmla="*/ 48 w 3266"/>
                <a:gd name="T89" fmla="*/ 2024 h 3265"/>
                <a:gd name="T90" fmla="*/ 0 w 3266"/>
                <a:gd name="T91" fmla="*/ 1633 h 3265"/>
                <a:gd name="T92" fmla="*/ 48 w 3266"/>
                <a:gd name="T93" fmla="*/ 1241 h 3265"/>
                <a:gd name="T94" fmla="*/ 184 w 3266"/>
                <a:gd name="T95" fmla="*/ 884 h 3265"/>
                <a:gd name="T96" fmla="*/ 395 w 3266"/>
                <a:gd name="T97" fmla="*/ 572 h 3265"/>
                <a:gd name="T98" fmla="*/ 669 w 3266"/>
                <a:gd name="T99" fmla="*/ 316 h 3265"/>
                <a:gd name="T100" fmla="*/ 998 w 3266"/>
                <a:gd name="T101" fmla="*/ 130 h 3265"/>
                <a:gd name="T102" fmla="*/ 1369 w 3266"/>
                <a:gd name="T103" fmla="*/ 22 h 3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66" h="3265">
                  <a:moveTo>
                    <a:pt x="1633" y="193"/>
                  </a:moveTo>
                  <a:lnTo>
                    <a:pt x="1510" y="199"/>
                  </a:lnTo>
                  <a:lnTo>
                    <a:pt x="1388" y="213"/>
                  </a:lnTo>
                  <a:lnTo>
                    <a:pt x="1270" y="240"/>
                  </a:lnTo>
                  <a:lnTo>
                    <a:pt x="1156" y="275"/>
                  </a:lnTo>
                  <a:lnTo>
                    <a:pt x="1046" y="318"/>
                  </a:lnTo>
                  <a:lnTo>
                    <a:pt x="942" y="370"/>
                  </a:lnTo>
                  <a:lnTo>
                    <a:pt x="841" y="432"/>
                  </a:lnTo>
                  <a:lnTo>
                    <a:pt x="745" y="500"/>
                  </a:lnTo>
                  <a:lnTo>
                    <a:pt x="657" y="576"/>
                  </a:lnTo>
                  <a:lnTo>
                    <a:pt x="575" y="657"/>
                  </a:lnTo>
                  <a:lnTo>
                    <a:pt x="500" y="745"/>
                  </a:lnTo>
                  <a:lnTo>
                    <a:pt x="431" y="841"/>
                  </a:lnTo>
                  <a:lnTo>
                    <a:pt x="370" y="940"/>
                  </a:lnTo>
                  <a:lnTo>
                    <a:pt x="317" y="1047"/>
                  </a:lnTo>
                  <a:lnTo>
                    <a:pt x="274" y="1157"/>
                  </a:lnTo>
                  <a:lnTo>
                    <a:pt x="240" y="1270"/>
                  </a:lnTo>
                  <a:lnTo>
                    <a:pt x="214" y="1387"/>
                  </a:lnTo>
                  <a:lnTo>
                    <a:pt x="198" y="1508"/>
                  </a:lnTo>
                  <a:lnTo>
                    <a:pt x="193" y="1633"/>
                  </a:lnTo>
                  <a:lnTo>
                    <a:pt x="198" y="1757"/>
                  </a:lnTo>
                  <a:lnTo>
                    <a:pt x="214" y="1878"/>
                  </a:lnTo>
                  <a:lnTo>
                    <a:pt x="240" y="1997"/>
                  </a:lnTo>
                  <a:lnTo>
                    <a:pt x="274" y="2111"/>
                  </a:lnTo>
                  <a:lnTo>
                    <a:pt x="317" y="2221"/>
                  </a:lnTo>
                  <a:lnTo>
                    <a:pt x="370" y="2325"/>
                  </a:lnTo>
                  <a:lnTo>
                    <a:pt x="431" y="2426"/>
                  </a:lnTo>
                  <a:lnTo>
                    <a:pt x="500" y="2520"/>
                  </a:lnTo>
                  <a:lnTo>
                    <a:pt x="575" y="2609"/>
                  </a:lnTo>
                  <a:lnTo>
                    <a:pt x="657" y="2691"/>
                  </a:lnTo>
                  <a:lnTo>
                    <a:pt x="745" y="2767"/>
                  </a:lnTo>
                  <a:lnTo>
                    <a:pt x="841" y="2836"/>
                  </a:lnTo>
                  <a:lnTo>
                    <a:pt x="942" y="2895"/>
                  </a:lnTo>
                  <a:lnTo>
                    <a:pt x="1046" y="2948"/>
                  </a:lnTo>
                  <a:lnTo>
                    <a:pt x="1156" y="2993"/>
                  </a:lnTo>
                  <a:lnTo>
                    <a:pt x="1270" y="3027"/>
                  </a:lnTo>
                  <a:lnTo>
                    <a:pt x="1388" y="3052"/>
                  </a:lnTo>
                  <a:lnTo>
                    <a:pt x="1510" y="3068"/>
                  </a:lnTo>
                  <a:lnTo>
                    <a:pt x="1633" y="3074"/>
                  </a:lnTo>
                  <a:lnTo>
                    <a:pt x="1758" y="3068"/>
                  </a:lnTo>
                  <a:lnTo>
                    <a:pt x="1878" y="3052"/>
                  </a:lnTo>
                  <a:lnTo>
                    <a:pt x="1998" y="3027"/>
                  </a:lnTo>
                  <a:lnTo>
                    <a:pt x="2111" y="2993"/>
                  </a:lnTo>
                  <a:lnTo>
                    <a:pt x="2221" y="2948"/>
                  </a:lnTo>
                  <a:lnTo>
                    <a:pt x="2326" y="2895"/>
                  </a:lnTo>
                  <a:lnTo>
                    <a:pt x="2427" y="2836"/>
                  </a:lnTo>
                  <a:lnTo>
                    <a:pt x="2521" y="2767"/>
                  </a:lnTo>
                  <a:lnTo>
                    <a:pt x="2609" y="2691"/>
                  </a:lnTo>
                  <a:lnTo>
                    <a:pt x="2692" y="2609"/>
                  </a:lnTo>
                  <a:lnTo>
                    <a:pt x="2768" y="2520"/>
                  </a:lnTo>
                  <a:lnTo>
                    <a:pt x="2837" y="2426"/>
                  </a:lnTo>
                  <a:lnTo>
                    <a:pt x="2896" y="2325"/>
                  </a:lnTo>
                  <a:lnTo>
                    <a:pt x="2949" y="2221"/>
                  </a:lnTo>
                  <a:lnTo>
                    <a:pt x="2994" y="2111"/>
                  </a:lnTo>
                  <a:lnTo>
                    <a:pt x="3028" y="1997"/>
                  </a:lnTo>
                  <a:lnTo>
                    <a:pt x="3053" y="1878"/>
                  </a:lnTo>
                  <a:lnTo>
                    <a:pt x="3070" y="1757"/>
                  </a:lnTo>
                  <a:lnTo>
                    <a:pt x="3075" y="1633"/>
                  </a:lnTo>
                  <a:lnTo>
                    <a:pt x="3070" y="1508"/>
                  </a:lnTo>
                  <a:lnTo>
                    <a:pt x="3053" y="1387"/>
                  </a:lnTo>
                  <a:lnTo>
                    <a:pt x="3028" y="1270"/>
                  </a:lnTo>
                  <a:lnTo>
                    <a:pt x="2994" y="1157"/>
                  </a:lnTo>
                  <a:lnTo>
                    <a:pt x="2949" y="1047"/>
                  </a:lnTo>
                  <a:lnTo>
                    <a:pt x="2896" y="940"/>
                  </a:lnTo>
                  <a:lnTo>
                    <a:pt x="2837" y="841"/>
                  </a:lnTo>
                  <a:lnTo>
                    <a:pt x="2768" y="745"/>
                  </a:lnTo>
                  <a:lnTo>
                    <a:pt x="2692" y="657"/>
                  </a:lnTo>
                  <a:lnTo>
                    <a:pt x="2609" y="576"/>
                  </a:lnTo>
                  <a:lnTo>
                    <a:pt x="2521" y="500"/>
                  </a:lnTo>
                  <a:lnTo>
                    <a:pt x="2427" y="432"/>
                  </a:lnTo>
                  <a:lnTo>
                    <a:pt x="2326" y="370"/>
                  </a:lnTo>
                  <a:lnTo>
                    <a:pt x="2221" y="318"/>
                  </a:lnTo>
                  <a:lnTo>
                    <a:pt x="2111" y="275"/>
                  </a:lnTo>
                  <a:lnTo>
                    <a:pt x="1998" y="240"/>
                  </a:lnTo>
                  <a:lnTo>
                    <a:pt x="1878" y="213"/>
                  </a:lnTo>
                  <a:lnTo>
                    <a:pt x="1758" y="199"/>
                  </a:lnTo>
                  <a:lnTo>
                    <a:pt x="1633" y="193"/>
                  </a:lnTo>
                  <a:close/>
                  <a:moveTo>
                    <a:pt x="1633" y="0"/>
                  </a:moveTo>
                  <a:lnTo>
                    <a:pt x="1767" y="6"/>
                  </a:lnTo>
                  <a:lnTo>
                    <a:pt x="1898" y="22"/>
                  </a:lnTo>
                  <a:lnTo>
                    <a:pt x="2025" y="49"/>
                  </a:lnTo>
                  <a:lnTo>
                    <a:pt x="2149" y="85"/>
                  </a:lnTo>
                  <a:lnTo>
                    <a:pt x="2268" y="130"/>
                  </a:lnTo>
                  <a:lnTo>
                    <a:pt x="2384" y="184"/>
                  </a:lnTo>
                  <a:lnTo>
                    <a:pt x="2494" y="246"/>
                  </a:lnTo>
                  <a:lnTo>
                    <a:pt x="2597" y="316"/>
                  </a:lnTo>
                  <a:lnTo>
                    <a:pt x="2696" y="395"/>
                  </a:lnTo>
                  <a:lnTo>
                    <a:pt x="2788" y="480"/>
                  </a:lnTo>
                  <a:lnTo>
                    <a:pt x="2873" y="572"/>
                  </a:lnTo>
                  <a:lnTo>
                    <a:pt x="2951" y="670"/>
                  </a:lnTo>
                  <a:lnTo>
                    <a:pt x="3021" y="774"/>
                  </a:lnTo>
                  <a:lnTo>
                    <a:pt x="3084" y="884"/>
                  </a:lnTo>
                  <a:lnTo>
                    <a:pt x="3138" y="998"/>
                  </a:lnTo>
                  <a:lnTo>
                    <a:pt x="3183" y="1119"/>
                  </a:lnTo>
                  <a:lnTo>
                    <a:pt x="3220" y="1241"/>
                  </a:lnTo>
                  <a:lnTo>
                    <a:pt x="3245" y="1369"/>
                  </a:lnTo>
                  <a:lnTo>
                    <a:pt x="3261" y="1499"/>
                  </a:lnTo>
                  <a:lnTo>
                    <a:pt x="3266" y="1633"/>
                  </a:lnTo>
                  <a:lnTo>
                    <a:pt x="3261" y="1766"/>
                  </a:lnTo>
                  <a:lnTo>
                    <a:pt x="3245" y="1898"/>
                  </a:lnTo>
                  <a:lnTo>
                    <a:pt x="3220" y="2024"/>
                  </a:lnTo>
                  <a:lnTo>
                    <a:pt x="3183" y="2149"/>
                  </a:lnTo>
                  <a:lnTo>
                    <a:pt x="3138" y="2268"/>
                  </a:lnTo>
                  <a:lnTo>
                    <a:pt x="3084" y="2383"/>
                  </a:lnTo>
                  <a:lnTo>
                    <a:pt x="3021" y="2493"/>
                  </a:lnTo>
                  <a:lnTo>
                    <a:pt x="2951" y="2596"/>
                  </a:lnTo>
                  <a:lnTo>
                    <a:pt x="2873" y="2695"/>
                  </a:lnTo>
                  <a:lnTo>
                    <a:pt x="2788" y="2787"/>
                  </a:lnTo>
                  <a:lnTo>
                    <a:pt x="2696" y="2872"/>
                  </a:lnTo>
                  <a:lnTo>
                    <a:pt x="2597" y="2949"/>
                  </a:lnTo>
                  <a:lnTo>
                    <a:pt x="2494" y="3020"/>
                  </a:lnTo>
                  <a:lnTo>
                    <a:pt x="2384" y="3083"/>
                  </a:lnTo>
                  <a:lnTo>
                    <a:pt x="2268" y="3137"/>
                  </a:lnTo>
                  <a:lnTo>
                    <a:pt x="2149" y="3182"/>
                  </a:lnTo>
                  <a:lnTo>
                    <a:pt x="2025" y="3218"/>
                  </a:lnTo>
                  <a:lnTo>
                    <a:pt x="1898" y="3243"/>
                  </a:lnTo>
                  <a:lnTo>
                    <a:pt x="1767" y="3260"/>
                  </a:lnTo>
                  <a:lnTo>
                    <a:pt x="1633" y="3265"/>
                  </a:lnTo>
                  <a:lnTo>
                    <a:pt x="1499" y="3260"/>
                  </a:lnTo>
                  <a:lnTo>
                    <a:pt x="1369" y="3243"/>
                  </a:lnTo>
                  <a:lnTo>
                    <a:pt x="1241" y="3218"/>
                  </a:lnTo>
                  <a:lnTo>
                    <a:pt x="1119" y="3182"/>
                  </a:lnTo>
                  <a:lnTo>
                    <a:pt x="998" y="3137"/>
                  </a:lnTo>
                  <a:lnTo>
                    <a:pt x="884" y="3083"/>
                  </a:lnTo>
                  <a:lnTo>
                    <a:pt x="774" y="3020"/>
                  </a:lnTo>
                  <a:lnTo>
                    <a:pt x="669" y="2949"/>
                  </a:lnTo>
                  <a:lnTo>
                    <a:pt x="572" y="2872"/>
                  </a:lnTo>
                  <a:lnTo>
                    <a:pt x="480" y="2787"/>
                  </a:lnTo>
                  <a:lnTo>
                    <a:pt x="395" y="2695"/>
                  </a:lnTo>
                  <a:lnTo>
                    <a:pt x="315" y="2596"/>
                  </a:lnTo>
                  <a:lnTo>
                    <a:pt x="245" y="2493"/>
                  </a:lnTo>
                  <a:lnTo>
                    <a:pt x="184" y="2383"/>
                  </a:lnTo>
                  <a:lnTo>
                    <a:pt x="129" y="2268"/>
                  </a:lnTo>
                  <a:lnTo>
                    <a:pt x="84" y="2149"/>
                  </a:lnTo>
                  <a:lnTo>
                    <a:pt x="48" y="2024"/>
                  </a:lnTo>
                  <a:lnTo>
                    <a:pt x="21" y="1898"/>
                  </a:lnTo>
                  <a:lnTo>
                    <a:pt x="5" y="1766"/>
                  </a:lnTo>
                  <a:lnTo>
                    <a:pt x="0" y="1633"/>
                  </a:lnTo>
                  <a:lnTo>
                    <a:pt x="5" y="1499"/>
                  </a:lnTo>
                  <a:lnTo>
                    <a:pt x="21" y="1369"/>
                  </a:lnTo>
                  <a:lnTo>
                    <a:pt x="48" y="1241"/>
                  </a:lnTo>
                  <a:lnTo>
                    <a:pt x="84" y="1119"/>
                  </a:lnTo>
                  <a:lnTo>
                    <a:pt x="129" y="998"/>
                  </a:lnTo>
                  <a:lnTo>
                    <a:pt x="184" y="884"/>
                  </a:lnTo>
                  <a:lnTo>
                    <a:pt x="245" y="774"/>
                  </a:lnTo>
                  <a:lnTo>
                    <a:pt x="315" y="670"/>
                  </a:lnTo>
                  <a:lnTo>
                    <a:pt x="395" y="572"/>
                  </a:lnTo>
                  <a:lnTo>
                    <a:pt x="480" y="480"/>
                  </a:lnTo>
                  <a:lnTo>
                    <a:pt x="572" y="395"/>
                  </a:lnTo>
                  <a:lnTo>
                    <a:pt x="669" y="316"/>
                  </a:lnTo>
                  <a:lnTo>
                    <a:pt x="774" y="246"/>
                  </a:lnTo>
                  <a:lnTo>
                    <a:pt x="884" y="184"/>
                  </a:lnTo>
                  <a:lnTo>
                    <a:pt x="998" y="130"/>
                  </a:lnTo>
                  <a:lnTo>
                    <a:pt x="1119" y="85"/>
                  </a:lnTo>
                  <a:lnTo>
                    <a:pt x="1241" y="49"/>
                  </a:lnTo>
                  <a:lnTo>
                    <a:pt x="1369" y="22"/>
                  </a:lnTo>
                  <a:lnTo>
                    <a:pt x="1499" y="6"/>
                  </a:lnTo>
                  <a:lnTo>
                    <a:pt x="1633"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sp>
          <p:nvSpPr>
            <p:cNvPr id="31" name="Freeform 20"/>
            <p:cNvSpPr>
              <a:spLocks/>
            </p:cNvSpPr>
            <p:nvPr/>
          </p:nvSpPr>
          <p:spPr bwMode="auto">
            <a:xfrm>
              <a:off x="2568" y="1079"/>
              <a:ext cx="352" cy="927"/>
            </a:xfrm>
            <a:custGeom>
              <a:avLst/>
              <a:gdLst>
                <a:gd name="T0" fmla="*/ 99 w 704"/>
                <a:gd name="T1" fmla="*/ 0 h 1854"/>
                <a:gd name="T2" fmla="*/ 124 w 704"/>
                <a:gd name="T3" fmla="*/ 5 h 1854"/>
                <a:gd name="T4" fmla="*/ 148 w 704"/>
                <a:gd name="T5" fmla="*/ 16 h 1854"/>
                <a:gd name="T6" fmla="*/ 233 w 704"/>
                <a:gd name="T7" fmla="*/ 76 h 1854"/>
                <a:gd name="T8" fmla="*/ 310 w 704"/>
                <a:gd name="T9" fmla="*/ 143 h 1854"/>
                <a:gd name="T10" fmla="*/ 381 w 704"/>
                <a:gd name="T11" fmla="*/ 215 h 1854"/>
                <a:gd name="T12" fmla="*/ 447 w 704"/>
                <a:gd name="T13" fmla="*/ 290 h 1854"/>
                <a:gd name="T14" fmla="*/ 505 w 704"/>
                <a:gd name="T15" fmla="*/ 372 h 1854"/>
                <a:gd name="T16" fmla="*/ 556 w 704"/>
                <a:gd name="T17" fmla="*/ 458 h 1854"/>
                <a:gd name="T18" fmla="*/ 601 w 704"/>
                <a:gd name="T19" fmla="*/ 548 h 1854"/>
                <a:gd name="T20" fmla="*/ 637 w 704"/>
                <a:gd name="T21" fmla="*/ 642 h 1854"/>
                <a:gd name="T22" fmla="*/ 666 w 704"/>
                <a:gd name="T23" fmla="*/ 738 h 1854"/>
                <a:gd name="T24" fmla="*/ 687 w 704"/>
                <a:gd name="T25" fmla="*/ 837 h 1854"/>
                <a:gd name="T26" fmla="*/ 700 w 704"/>
                <a:gd name="T27" fmla="*/ 938 h 1854"/>
                <a:gd name="T28" fmla="*/ 704 w 704"/>
                <a:gd name="T29" fmla="*/ 1041 h 1854"/>
                <a:gd name="T30" fmla="*/ 698 w 704"/>
                <a:gd name="T31" fmla="*/ 1147 h 1854"/>
                <a:gd name="T32" fmla="*/ 686 w 704"/>
                <a:gd name="T33" fmla="*/ 1252 h 1854"/>
                <a:gd name="T34" fmla="*/ 662 w 704"/>
                <a:gd name="T35" fmla="*/ 1355 h 1854"/>
                <a:gd name="T36" fmla="*/ 632 w 704"/>
                <a:gd name="T37" fmla="*/ 1454 h 1854"/>
                <a:gd name="T38" fmla="*/ 592 w 704"/>
                <a:gd name="T39" fmla="*/ 1551 h 1854"/>
                <a:gd name="T40" fmla="*/ 543 w 704"/>
                <a:gd name="T41" fmla="*/ 1645 h 1854"/>
                <a:gd name="T42" fmla="*/ 487 w 704"/>
                <a:gd name="T43" fmla="*/ 1735 h 1854"/>
                <a:gd name="T44" fmla="*/ 424 w 704"/>
                <a:gd name="T45" fmla="*/ 1820 h 1854"/>
                <a:gd name="T46" fmla="*/ 402 w 704"/>
                <a:gd name="T47" fmla="*/ 1838 h 1854"/>
                <a:gd name="T48" fmla="*/ 377 w 704"/>
                <a:gd name="T49" fmla="*/ 1851 h 1854"/>
                <a:gd name="T50" fmla="*/ 350 w 704"/>
                <a:gd name="T51" fmla="*/ 1854 h 1854"/>
                <a:gd name="T52" fmla="*/ 328 w 704"/>
                <a:gd name="T53" fmla="*/ 1852 h 1854"/>
                <a:gd name="T54" fmla="*/ 308 w 704"/>
                <a:gd name="T55" fmla="*/ 1845 h 1854"/>
                <a:gd name="T56" fmla="*/ 289 w 704"/>
                <a:gd name="T57" fmla="*/ 1833 h 1854"/>
                <a:gd name="T58" fmla="*/ 271 w 704"/>
                <a:gd name="T59" fmla="*/ 1813 h 1854"/>
                <a:gd name="T60" fmla="*/ 260 w 704"/>
                <a:gd name="T61" fmla="*/ 1791 h 1854"/>
                <a:gd name="T62" fmla="*/ 254 w 704"/>
                <a:gd name="T63" fmla="*/ 1768 h 1854"/>
                <a:gd name="T64" fmla="*/ 256 w 704"/>
                <a:gd name="T65" fmla="*/ 1742 h 1854"/>
                <a:gd name="T66" fmla="*/ 262 w 704"/>
                <a:gd name="T67" fmla="*/ 1719 h 1854"/>
                <a:gd name="T68" fmla="*/ 276 w 704"/>
                <a:gd name="T69" fmla="*/ 1697 h 1854"/>
                <a:gd name="T70" fmla="*/ 337 w 704"/>
                <a:gd name="T71" fmla="*/ 1616 h 1854"/>
                <a:gd name="T72" fmla="*/ 390 w 704"/>
                <a:gd name="T73" fmla="*/ 1528 h 1854"/>
                <a:gd name="T74" fmla="*/ 433 w 704"/>
                <a:gd name="T75" fmla="*/ 1438 h 1854"/>
                <a:gd name="T76" fmla="*/ 467 w 704"/>
                <a:gd name="T77" fmla="*/ 1342 h 1854"/>
                <a:gd name="T78" fmla="*/ 491 w 704"/>
                <a:gd name="T79" fmla="*/ 1243 h 1854"/>
                <a:gd name="T80" fmla="*/ 507 w 704"/>
                <a:gd name="T81" fmla="*/ 1144 h 1854"/>
                <a:gd name="T82" fmla="*/ 512 w 704"/>
                <a:gd name="T83" fmla="*/ 1041 h 1854"/>
                <a:gd name="T84" fmla="*/ 507 w 704"/>
                <a:gd name="T85" fmla="*/ 947 h 1854"/>
                <a:gd name="T86" fmla="*/ 494 w 704"/>
                <a:gd name="T87" fmla="*/ 853 h 1854"/>
                <a:gd name="T88" fmla="*/ 475 w 704"/>
                <a:gd name="T89" fmla="*/ 763 h 1854"/>
                <a:gd name="T90" fmla="*/ 446 w 704"/>
                <a:gd name="T91" fmla="*/ 675 h 1854"/>
                <a:gd name="T92" fmla="*/ 408 w 704"/>
                <a:gd name="T93" fmla="*/ 592 h 1854"/>
                <a:gd name="T94" fmla="*/ 364 w 704"/>
                <a:gd name="T95" fmla="*/ 510 h 1854"/>
                <a:gd name="T96" fmla="*/ 314 w 704"/>
                <a:gd name="T97" fmla="*/ 433 h 1854"/>
                <a:gd name="T98" fmla="*/ 256 w 704"/>
                <a:gd name="T99" fmla="*/ 361 h 1854"/>
                <a:gd name="T100" fmla="*/ 191 w 704"/>
                <a:gd name="T101" fmla="*/ 294 h 1854"/>
                <a:gd name="T102" fmla="*/ 119 w 704"/>
                <a:gd name="T103" fmla="*/ 233 h 1854"/>
                <a:gd name="T104" fmla="*/ 43 w 704"/>
                <a:gd name="T105" fmla="*/ 177 h 1854"/>
                <a:gd name="T106" fmla="*/ 23 w 704"/>
                <a:gd name="T107" fmla="*/ 161 h 1854"/>
                <a:gd name="T108" fmla="*/ 9 w 704"/>
                <a:gd name="T109" fmla="*/ 139 h 1854"/>
                <a:gd name="T110" fmla="*/ 2 w 704"/>
                <a:gd name="T111" fmla="*/ 117 h 1854"/>
                <a:gd name="T112" fmla="*/ 0 w 704"/>
                <a:gd name="T113" fmla="*/ 92 h 1854"/>
                <a:gd name="T114" fmla="*/ 3 w 704"/>
                <a:gd name="T115" fmla="*/ 67 h 1854"/>
                <a:gd name="T116" fmla="*/ 14 w 704"/>
                <a:gd name="T117" fmla="*/ 45 h 1854"/>
                <a:gd name="T118" fmla="*/ 32 w 704"/>
                <a:gd name="T119" fmla="*/ 25 h 1854"/>
                <a:gd name="T120" fmla="*/ 52 w 704"/>
                <a:gd name="T121" fmla="*/ 11 h 1854"/>
                <a:gd name="T122" fmla="*/ 76 w 704"/>
                <a:gd name="T123" fmla="*/ 4 h 1854"/>
                <a:gd name="T124" fmla="*/ 99 w 704"/>
                <a:gd name="T125" fmla="*/ 0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4" h="1854">
                  <a:moveTo>
                    <a:pt x="99" y="0"/>
                  </a:moveTo>
                  <a:lnTo>
                    <a:pt x="124" y="5"/>
                  </a:lnTo>
                  <a:lnTo>
                    <a:pt x="148" y="16"/>
                  </a:lnTo>
                  <a:lnTo>
                    <a:pt x="233" y="76"/>
                  </a:lnTo>
                  <a:lnTo>
                    <a:pt x="310" y="143"/>
                  </a:lnTo>
                  <a:lnTo>
                    <a:pt x="381" y="215"/>
                  </a:lnTo>
                  <a:lnTo>
                    <a:pt x="447" y="290"/>
                  </a:lnTo>
                  <a:lnTo>
                    <a:pt x="505" y="372"/>
                  </a:lnTo>
                  <a:lnTo>
                    <a:pt x="556" y="458"/>
                  </a:lnTo>
                  <a:lnTo>
                    <a:pt x="601" y="548"/>
                  </a:lnTo>
                  <a:lnTo>
                    <a:pt x="637" y="642"/>
                  </a:lnTo>
                  <a:lnTo>
                    <a:pt x="666" y="738"/>
                  </a:lnTo>
                  <a:lnTo>
                    <a:pt x="687" y="837"/>
                  </a:lnTo>
                  <a:lnTo>
                    <a:pt x="700" y="938"/>
                  </a:lnTo>
                  <a:lnTo>
                    <a:pt x="704" y="1041"/>
                  </a:lnTo>
                  <a:lnTo>
                    <a:pt x="698" y="1147"/>
                  </a:lnTo>
                  <a:lnTo>
                    <a:pt x="686" y="1252"/>
                  </a:lnTo>
                  <a:lnTo>
                    <a:pt x="662" y="1355"/>
                  </a:lnTo>
                  <a:lnTo>
                    <a:pt x="632" y="1454"/>
                  </a:lnTo>
                  <a:lnTo>
                    <a:pt x="592" y="1551"/>
                  </a:lnTo>
                  <a:lnTo>
                    <a:pt x="543" y="1645"/>
                  </a:lnTo>
                  <a:lnTo>
                    <a:pt x="487" y="1735"/>
                  </a:lnTo>
                  <a:lnTo>
                    <a:pt x="424" y="1820"/>
                  </a:lnTo>
                  <a:lnTo>
                    <a:pt x="402" y="1838"/>
                  </a:lnTo>
                  <a:lnTo>
                    <a:pt x="377" y="1851"/>
                  </a:lnTo>
                  <a:lnTo>
                    <a:pt x="350" y="1854"/>
                  </a:lnTo>
                  <a:lnTo>
                    <a:pt x="328" y="1852"/>
                  </a:lnTo>
                  <a:lnTo>
                    <a:pt x="308" y="1845"/>
                  </a:lnTo>
                  <a:lnTo>
                    <a:pt x="289" y="1833"/>
                  </a:lnTo>
                  <a:lnTo>
                    <a:pt x="271" y="1813"/>
                  </a:lnTo>
                  <a:lnTo>
                    <a:pt x="260" y="1791"/>
                  </a:lnTo>
                  <a:lnTo>
                    <a:pt x="254" y="1768"/>
                  </a:lnTo>
                  <a:lnTo>
                    <a:pt x="256" y="1742"/>
                  </a:lnTo>
                  <a:lnTo>
                    <a:pt x="262" y="1719"/>
                  </a:lnTo>
                  <a:lnTo>
                    <a:pt x="276" y="1697"/>
                  </a:lnTo>
                  <a:lnTo>
                    <a:pt x="337" y="1616"/>
                  </a:lnTo>
                  <a:lnTo>
                    <a:pt x="390" y="1528"/>
                  </a:lnTo>
                  <a:lnTo>
                    <a:pt x="433" y="1438"/>
                  </a:lnTo>
                  <a:lnTo>
                    <a:pt x="467" y="1342"/>
                  </a:lnTo>
                  <a:lnTo>
                    <a:pt x="491" y="1243"/>
                  </a:lnTo>
                  <a:lnTo>
                    <a:pt x="507" y="1144"/>
                  </a:lnTo>
                  <a:lnTo>
                    <a:pt x="512" y="1041"/>
                  </a:lnTo>
                  <a:lnTo>
                    <a:pt x="507" y="947"/>
                  </a:lnTo>
                  <a:lnTo>
                    <a:pt x="494" y="853"/>
                  </a:lnTo>
                  <a:lnTo>
                    <a:pt x="475" y="763"/>
                  </a:lnTo>
                  <a:lnTo>
                    <a:pt x="446" y="675"/>
                  </a:lnTo>
                  <a:lnTo>
                    <a:pt x="408" y="592"/>
                  </a:lnTo>
                  <a:lnTo>
                    <a:pt x="364" y="510"/>
                  </a:lnTo>
                  <a:lnTo>
                    <a:pt x="314" y="433"/>
                  </a:lnTo>
                  <a:lnTo>
                    <a:pt x="256" y="361"/>
                  </a:lnTo>
                  <a:lnTo>
                    <a:pt x="191" y="294"/>
                  </a:lnTo>
                  <a:lnTo>
                    <a:pt x="119" y="233"/>
                  </a:lnTo>
                  <a:lnTo>
                    <a:pt x="43" y="177"/>
                  </a:lnTo>
                  <a:lnTo>
                    <a:pt x="23" y="161"/>
                  </a:lnTo>
                  <a:lnTo>
                    <a:pt x="9" y="139"/>
                  </a:lnTo>
                  <a:lnTo>
                    <a:pt x="2" y="117"/>
                  </a:lnTo>
                  <a:lnTo>
                    <a:pt x="0" y="92"/>
                  </a:lnTo>
                  <a:lnTo>
                    <a:pt x="3" y="67"/>
                  </a:lnTo>
                  <a:lnTo>
                    <a:pt x="14" y="45"/>
                  </a:lnTo>
                  <a:lnTo>
                    <a:pt x="32" y="25"/>
                  </a:lnTo>
                  <a:lnTo>
                    <a:pt x="52" y="11"/>
                  </a:lnTo>
                  <a:lnTo>
                    <a:pt x="76" y="4"/>
                  </a:lnTo>
                  <a:lnTo>
                    <a:pt x="99"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sp>
          <p:nvSpPr>
            <p:cNvPr id="32" name="Freeform 21"/>
            <p:cNvSpPr>
              <a:spLocks/>
            </p:cNvSpPr>
            <p:nvPr/>
          </p:nvSpPr>
          <p:spPr bwMode="auto">
            <a:xfrm>
              <a:off x="2260" y="989"/>
              <a:ext cx="199" cy="104"/>
            </a:xfrm>
            <a:custGeom>
              <a:avLst/>
              <a:gdLst>
                <a:gd name="T0" fmla="*/ 96 w 397"/>
                <a:gd name="T1" fmla="*/ 0 h 209"/>
                <a:gd name="T2" fmla="*/ 208 w 397"/>
                <a:gd name="T3" fmla="*/ 3 h 209"/>
                <a:gd name="T4" fmla="*/ 318 w 397"/>
                <a:gd name="T5" fmla="*/ 20 h 209"/>
                <a:gd name="T6" fmla="*/ 349 w 397"/>
                <a:gd name="T7" fmla="*/ 29 h 209"/>
                <a:gd name="T8" fmla="*/ 372 w 397"/>
                <a:gd name="T9" fmla="*/ 47 h 209"/>
                <a:gd name="T10" fmla="*/ 388 w 397"/>
                <a:gd name="T11" fmla="*/ 72 h 209"/>
                <a:gd name="T12" fmla="*/ 397 w 397"/>
                <a:gd name="T13" fmla="*/ 101 h 209"/>
                <a:gd name="T14" fmla="*/ 396 w 397"/>
                <a:gd name="T15" fmla="*/ 131 h 209"/>
                <a:gd name="T16" fmla="*/ 387 w 397"/>
                <a:gd name="T17" fmla="*/ 157 h 209"/>
                <a:gd name="T18" fmla="*/ 372 w 397"/>
                <a:gd name="T19" fmla="*/ 178 h 209"/>
                <a:gd name="T20" fmla="*/ 352 w 397"/>
                <a:gd name="T21" fmla="*/ 194 h 209"/>
                <a:gd name="T22" fmla="*/ 329 w 397"/>
                <a:gd name="T23" fmla="*/ 205 h 209"/>
                <a:gd name="T24" fmla="*/ 302 w 397"/>
                <a:gd name="T25" fmla="*/ 209 h 209"/>
                <a:gd name="T26" fmla="*/ 284 w 397"/>
                <a:gd name="T27" fmla="*/ 207 h 209"/>
                <a:gd name="T28" fmla="*/ 192 w 397"/>
                <a:gd name="T29" fmla="*/ 194 h 209"/>
                <a:gd name="T30" fmla="*/ 96 w 397"/>
                <a:gd name="T31" fmla="*/ 191 h 209"/>
                <a:gd name="T32" fmla="*/ 65 w 397"/>
                <a:gd name="T33" fmla="*/ 185 h 209"/>
                <a:gd name="T34" fmla="*/ 40 w 397"/>
                <a:gd name="T35" fmla="*/ 173 h 209"/>
                <a:gd name="T36" fmla="*/ 18 w 397"/>
                <a:gd name="T37" fmla="*/ 151 h 209"/>
                <a:gd name="T38" fmla="*/ 6 w 397"/>
                <a:gd name="T39" fmla="*/ 126 h 209"/>
                <a:gd name="T40" fmla="*/ 0 w 397"/>
                <a:gd name="T41" fmla="*/ 95 h 209"/>
                <a:gd name="T42" fmla="*/ 6 w 397"/>
                <a:gd name="T43" fmla="*/ 65 h 209"/>
                <a:gd name="T44" fmla="*/ 18 w 397"/>
                <a:gd name="T45" fmla="*/ 38 h 209"/>
                <a:gd name="T46" fmla="*/ 40 w 397"/>
                <a:gd name="T47" fmla="*/ 18 h 209"/>
                <a:gd name="T48" fmla="*/ 65 w 397"/>
                <a:gd name="T49" fmla="*/ 3 h 209"/>
                <a:gd name="T50" fmla="*/ 96 w 397"/>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7" h="209">
                  <a:moveTo>
                    <a:pt x="96" y="0"/>
                  </a:moveTo>
                  <a:lnTo>
                    <a:pt x="208" y="3"/>
                  </a:lnTo>
                  <a:lnTo>
                    <a:pt x="318" y="20"/>
                  </a:lnTo>
                  <a:lnTo>
                    <a:pt x="349" y="29"/>
                  </a:lnTo>
                  <a:lnTo>
                    <a:pt x="372" y="47"/>
                  </a:lnTo>
                  <a:lnTo>
                    <a:pt x="388" y="72"/>
                  </a:lnTo>
                  <a:lnTo>
                    <a:pt x="397" y="101"/>
                  </a:lnTo>
                  <a:lnTo>
                    <a:pt x="396" y="131"/>
                  </a:lnTo>
                  <a:lnTo>
                    <a:pt x="387" y="157"/>
                  </a:lnTo>
                  <a:lnTo>
                    <a:pt x="372" y="178"/>
                  </a:lnTo>
                  <a:lnTo>
                    <a:pt x="352" y="194"/>
                  </a:lnTo>
                  <a:lnTo>
                    <a:pt x="329" y="205"/>
                  </a:lnTo>
                  <a:lnTo>
                    <a:pt x="302" y="209"/>
                  </a:lnTo>
                  <a:lnTo>
                    <a:pt x="284" y="207"/>
                  </a:lnTo>
                  <a:lnTo>
                    <a:pt x="192" y="194"/>
                  </a:lnTo>
                  <a:lnTo>
                    <a:pt x="96" y="191"/>
                  </a:lnTo>
                  <a:lnTo>
                    <a:pt x="65" y="185"/>
                  </a:lnTo>
                  <a:lnTo>
                    <a:pt x="40" y="173"/>
                  </a:lnTo>
                  <a:lnTo>
                    <a:pt x="18" y="151"/>
                  </a:lnTo>
                  <a:lnTo>
                    <a:pt x="6" y="126"/>
                  </a:lnTo>
                  <a:lnTo>
                    <a:pt x="0" y="95"/>
                  </a:lnTo>
                  <a:lnTo>
                    <a:pt x="6" y="65"/>
                  </a:lnTo>
                  <a:lnTo>
                    <a:pt x="18" y="38"/>
                  </a:lnTo>
                  <a:lnTo>
                    <a:pt x="40" y="18"/>
                  </a:lnTo>
                  <a:lnTo>
                    <a:pt x="65" y="3"/>
                  </a:lnTo>
                  <a:lnTo>
                    <a:pt x="96"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grpSp>
      <p:grpSp>
        <p:nvGrpSpPr>
          <p:cNvPr id="34" name="Group 24"/>
          <p:cNvGrpSpPr>
            <a:grpSpLocks noChangeAspect="1"/>
          </p:cNvGrpSpPr>
          <p:nvPr/>
        </p:nvGrpSpPr>
        <p:grpSpPr bwMode="auto">
          <a:xfrm>
            <a:off x="5862314" y="2248564"/>
            <a:ext cx="288429" cy="322362"/>
            <a:chOff x="881" y="2333"/>
            <a:chExt cx="323" cy="361"/>
          </a:xfrm>
          <a:solidFill>
            <a:schemeClr val="bg1"/>
          </a:solidFill>
        </p:grpSpPr>
        <p:sp>
          <p:nvSpPr>
            <p:cNvPr id="37" name="Freeform 26"/>
            <p:cNvSpPr>
              <a:spLocks noEditPoints="1"/>
            </p:cNvSpPr>
            <p:nvPr/>
          </p:nvSpPr>
          <p:spPr bwMode="auto">
            <a:xfrm>
              <a:off x="1000" y="2470"/>
              <a:ext cx="86" cy="87"/>
            </a:xfrm>
            <a:custGeom>
              <a:avLst/>
              <a:gdLst>
                <a:gd name="T0" fmla="*/ 387 w 867"/>
                <a:gd name="T1" fmla="*/ 121 h 867"/>
                <a:gd name="T2" fmla="*/ 300 w 867"/>
                <a:gd name="T3" fmla="*/ 148 h 867"/>
                <a:gd name="T4" fmla="*/ 227 w 867"/>
                <a:gd name="T5" fmla="*/ 195 h 867"/>
                <a:gd name="T6" fmla="*/ 168 w 867"/>
                <a:gd name="T7" fmla="*/ 262 h 867"/>
                <a:gd name="T8" fmla="*/ 131 w 867"/>
                <a:gd name="T9" fmla="*/ 343 h 867"/>
                <a:gd name="T10" fmla="*/ 118 w 867"/>
                <a:gd name="T11" fmla="*/ 434 h 867"/>
                <a:gd name="T12" fmla="*/ 131 w 867"/>
                <a:gd name="T13" fmla="*/ 525 h 867"/>
                <a:gd name="T14" fmla="*/ 168 w 867"/>
                <a:gd name="T15" fmla="*/ 607 h 867"/>
                <a:gd name="T16" fmla="*/ 227 w 867"/>
                <a:gd name="T17" fmla="*/ 673 h 867"/>
                <a:gd name="T18" fmla="*/ 300 w 867"/>
                <a:gd name="T19" fmla="*/ 721 h 867"/>
                <a:gd name="T20" fmla="*/ 387 w 867"/>
                <a:gd name="T21" fmla="*/ 747 h 867"/>
                <a:gd name="T22" fmla="*/ 480 w 867"/>
                <a:gd name="T23" fmla="*/ 747 h 867"/>
                <a:gd name="T24" fmla="*/ 567 w 867"/>
                <a:gd name="T25" fmla="*/ 721 h 867"/>
                <a:gd name="T26" fmla="*/ 640 w 867"/>
                <a:gd name="T27" fmla="*/ 673 h 867"/>
                <a:gd name="T28" fmla="*/ 699 w 867"/>
                <a:gd name="T29" fmla="*/ 607 h 867"/>
                <a:gd name="T30" fmla="*/ 736 w 867"/>
                <a:gd name="T31" fmla="*/ 525 h 867"/>
                <a:gd name="T32" fmla="*/ 749 w 867"/>
                <a:gd name="T33" fmla="*/ 434 h 867"/>
                <a:gd name="T34" fmla="*/ 736 w 867"/>
                <a:gd name="T35" fmla="*/ 343 h 867"/>
                <a:gd name="T36" fmla="*/ 699 w 867"/>
                <a:gd name="T37" fmla="*/ 262 h 867"/>
                <a:gd name="T38" fmla="*/ 640 w 867"/>
                <a:gd name="T39" fmla="*/ 195 h 867"/>
                <a:gd name="T40" fmla="*/ 567 w 867"/>
                <a:gd name="T41" fmla="*/ 148 h 867"/>
                <a:gd name="T42" fmla="*/ 480 w 867"/>
                <a:gd name="T43" fmla="*/ 121 h 867"/>
                <a:gd name="T44" fmla="*/ 433 w 867"/>
                <a:gd name="T45" fmla="*/ 0 h 867"/>
                <a:gd name="T46" fmla="*/ 540 w 867"/>
                <a:gd name="T47" fmla="*/ 14 h 867"/>
                <a:gd name="T48" fmla="*/ 637 w 867"/>
                <a:gd name="T49" fmla="*/ 52 h 867"/>
                <a:gd name="T50" fmla="*/ 721 w 867"/>
                <a:gd name="T51" fmla="*/ 110 h 867"/>
                <a:gd name="T52" fmla="*/ 789 w 867"/>
                <a:gd name="T53" fmla="*/ 186 h 867"/>
                <a:gd name="T54" fmla="*/ 837 w 867"/>
                <a:gd name="T55" fmla="*/ 278 h 867"/>
                <a:gd name="T56" fmla="*/ 864 w 867"/>
                <a:gd name="T57" fmla="*/ 380 h 867"/>
                <a:gd name="T58" fmla="*/ 864 w 867"/>
                <a:gd name="T59" fmla="*/ 489 h 867"/>
                <a:gd name="T60" fmla="*/ 837 w 867"/>
                <a:gd name="T61" fmla="*/ 590 h 867"/>
                <a:gd name="T62" fmla="*/ 789 w 867"/>
                <a:gd name="T63" fmla="*/ 681 h 867"/>
                <a:gd name="T64" fmla="*/ 721 w 867"/>
                <a:gd name="T65" fmla="*/ 758 h 867"/>
                <a:gd name="T66" fmla="*/ 637 w 867"/>
                <a:gd name="T67" fmla="*/ 817 h 867"/>
                <a:gd name="T68" fmla="*/ 540 w 867"/>
                <a:gd name="T69" fmla="*/ 854 h 867"/>
                <a:gd name="T70" fmla="*/ 433 w 867"/>
                <a:gd name="T71" fmla="*/ 867 h 867"/>
                <a:gd name="T72" fmla="*/ 327 w 867"/>
                <a:gd name="T73" fmla="*/ 854 h 867"/>
                <a:gd name="T74" fmla="*/ 230 w 867"/>
                <a:gd name="T75" fmla="*/ 817 h 867"/>
                <a:gd name="T76" fmla="*/ 146 w 867"/>
                <a:gd name="T77" fmla="*/ 758 h 867"/>
                <a:gd name="T78" fmla="*/ 78 w 867"/>
                <a:gd name="T79" fmla="*/ 681 h 867"/>
                <a:gd name="T80" fmla="*/ 30 w 867"/>
                <a:gd name="T81" fmla="*/ 590 h 867"/>
                <a:gd name="T82" fmla="*/ 3 w 867"/>
                <a:gd name="T83" fmla="*/ 489 h 867"/>
                <a:gd name="T84" fmla="*/ 3 w 867"/>
                <a:gd name="T85" fmla="*/ 380 h 867"/>
                <a:gd name="T86" fmla="*/ 30 w 867"/>
                <a:gd name="T87" fmla="*/ 278 h 867"/>
                <a:gd name="T88" fmla="*/ 78 w 867"/>
                <a:gd name="T89" fmla="*/ 186 h 867"/>
                <a:gd name="T90" fmla="*/ 146 w 867"/>
                <a:gd name="T91" fmla="*/ 110 h 867"/>
                <a:gd name="T92" fmla="*/ 230 w 867"/>
                <a:gd name="T93" fmla="*/ 52 h 867"/>
                <a:gd name="T94" fmla="*/ 327 w 867"/>
                <a:gd name="T95" fmla="*/ 14 h 867"/>
                <a:gd name="T96" fmla="*/ 433 w 867"/>
                <a:gd name="T97" fmla="*/ 0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7" h="867">
                  <a:moveTo>
                    <a:pt x="433" y="118"/>
                  </a:moveTo>
                  <a:lnTo>
                    <a:pt x="387" y="121"/>
                  </a:lnTo>
                  <a:lnTo>
                    <a:pt x="342" y="131"/>
                  </a:lnTo>
                  <a:lnTo>
                    <a:pt x="300" y="148"/>
                  </a:lnTo>
                  <a:lnTo>
                    <a:pt x="262" y="169"/>
                  </a:lnTo>
                  <a:lnTo>
                    <a:pt x="227" y="195"/>
                  </a:lnTo>
                  <a:lnTo>
                    <a:pt x="195" y="227"/>
                  </a:lnTo>
                  <a:lnTo>
                    <a:pt x="168" y="262"/>
                  </a:lnTo>
                  <a:lnTo>
                    <a:pt x="146" y="301"/>
                  </a:lnTo>
                  <a:lnTo>
                    <a:pt x="131" y="343"/>
                  </a:lnTo>
                  <a:lnTo>
                    <a:pt x="121" y="388"/>
                  </a:lnTo>
                  <a:lnTo>
                    <a:pt x="118" y="434"/>
                  </a:lnTo>
                  <a:lnTo>
                    <a:pt x="121" y="481"/>
                  </a:lnTo>
                  <a:lnTo>
                    <a:pt x="131" y="525"/>
                  </a:lnTo>
                  <a:lnTo>
                    <a:pt x="146" y="567"/>
                  </a:lnTo>
                  <a:lnTo>
                    <a:pt x="168" y="607"/>
                  </a:lnTo>
                  <a:lnTo>
                    <a:pt x="195" y="642"/>
                  </a:lnTo>
                  <a:lnTo>
                    <a:pt x="227" y="673"/>
                  </a:lnTo>
                  <a:lnTo>
                    <a:pt x="262" y="699"/>
                  </a:lnTo>
                  <a:lnTo>
                    <a:pt x="300" y="721"/>
                  </a:lnTo>
                  <a:lnTo>
                    <a:pt x="342" y="736"/>
                  </a:lnTo>
                  <a:lnTo>
                    <a:pt x="387" y="747"/>
                  </a:lnTo>
                  <a:lnTo>
                    <a:pt x="433" y="751"/>
                  </a:lnTo>
                  <a:lnTo>
                    <a:pt x="480" y="747"/>
                  </a:lnTo>
                  <a:lnTo>
                    <a:pt x="525" y="736"/>
                  </a:lnTo>
                  <a:lnTo>
                    <a:pt x="567" y="721"/>
                  </a:lnTo>
                  <a:lnTo>
                    <a:pt x="605" y="699"/>
                  </a:lnTo>
                  <a:lnTo>
                    <a:pt x="640" y="673"/>
                  </a:lnTo>
                  <a:lnTo>
                    <a:pt x="672" y="642"/>
                  </a:lnTo>
                  <a:lnTo>
                    <a:pt x="699" y="607"/>
                  </a:lnTo>
                  <a:lnTo>
                    <a:pt x="721" y="567"/>
                  </a:lnTo>
                  <a:lnTo>
                    <a:pt x="736" y="525"/>
                  </a:lnTo>
                  <a:lnTo>
                    <a:pt x="746" y="481"/>
                  </a:lnTo>
                  <a:lnTo>
                    <a:pt x="749" y="434"/>
                  </a:lnTo>
                  <a:lnTo>
                    <a:pt x="746" y="388"/>
                  </a:lnTo>
                  <a:lnTo>
                    <a:pt x="736" y="343"/>
                  </a:lnTo>
                  <a:lnTo>
                    <a:pt x="721" y="301"/>
                  </a:lnTo>
                  <a:lnTo>
                    <a:pt x="699" y="262"/>
                  </a:lnTo>
                  <a:lnTo>
                    <a:pt x="672" y="227"/>
                  </a:lnTo>
                  <a:lnTo>
                    <a:pt x="640" y="195"/>
                  </a:lnTo>
                  <a:lnTo>
                    <a:pt x="605" y="169"/>
                  </a:lnTo>
                  <a:lnTo>
                    <a:pt x="567" y="148"/>
                  </a:lnTo>
                  <a:lnTo>
                    <a:pt x="525" y="131"/>
                  </a:lnTo>
                  <a:lnTo>
                    <a:pt x="480" y="121"/>
                  </a:lnTo>
                  <a:lnTo>
                    <a:pt x="433" y="118"/>
                  </a:lnTo>
                  <a:close/>
                  <a:moveTo>
                    <a:pt x="433" y="0"/>
                  </a:moveTo>
                  <a:lnTo>
                    <a:pt x="487" y="4"/>
                  </a:lnTo>
                  <a:lnTo>
                    <a:pt x="540" y="14"/>
                  </a:lnTo>
                  <a:lnTo>
                    <a:pt x="590" y="30"/>
                  </a:lnTo>
                  <a:lnTo>
                    <a:pt x="637" y="52"/>
                  </a:lnTo>
                  <a:lnTo>
                    <a:pt x="681" y="79"/>
                  </a:lnTo>
                  <a:lnTo>
                    <a:pt x="721" y="110"/>
                  </a:lnTo>
                  <a:lnTo>
                    <a:pt x="757" y="147"/>
                  </a:lnTo>
                  <a:lnTo>
                    <a:pt x="789" y="186"/>
                  </a:lnTo>
                  <a:lnTo>
                    <a:pt x="816" y="230"/>
                  </a:lnTo>
                  <a:lnTo>
                    <a:pt x="837" y="278"/>
                  </a:lnTo>
                  <a:lnTo>
                    <a:pt x="854" y="327"/>
                  </a:lnTo>
                  <a:lnTo>
                    <a:pt x="864" y="380"/>
                  </a:lnTo>
                  <a:lnTo>
                    <a:pt x="867" y="434"/>
                  </a:lnTo>
                  <a:lnTo>
                    <a:pt x="864" y="489"/>
                  </a:lnTo>
                  <a:lnTo>
                    <a:pt x="854" y="541"/>
                  </a:lnTo>
                  <a:lnTo>
                    <a:pt x="837" y="590"/>
                  </a:lnTo>
                  <a:lnTo>
                    <a:pt x="816" y="637"/>
                  </a:lnTo>
                  <a:lnTo>
                    <a:pt x="789" y="681"/>
                  </a:lnTo>
                  <a:lnTo>
                    <a:pt x="757" y="722"/>
                  </a:lnTo>
                  <a:lnTo>
                    <a:pt x="721" y="758"/>
                  </a:lnTo>
                  <a:lnTo>
                    <a:pt x="681" y="789"/>
                  </a:lnTo>
                  <a:lnTo>
                    <a:pt x="637" y="817"/>
                  </a:lnTo>
                  <a:lnTo>
                    <a:pt x="590" y="839"/>
                  </a:lnTo>
                  <a:lnTo>
                    <a:pt x="540" y="854"/>
                  </a:lnTo>
                  <a:lnTo>
                    <a:pt x="487" y="864"/>
                  </a:lnTo>
                  <a:lnTo>
                    <a:pt x="433" y="867"/>
                  </a:lnTo>
                  <a:lnTo>
                    <a:pt x="380" y="864"/>
                  </a:lnTo>
                  <a:lnTo>
                    <a:pt x="327" y="854"/>
                  </a:lnTo>
                  <a:lnTo>
                    <a:pt x="277" y="839"/>
                  </a:lnTo>
                  <a:lnTo>
                    <a:pt x="230" y="817"/>
                  </a:lnTo>
                  <a:lnTo>
                    <a:pt x="186" y="789"/>
                  </a:lnTo>
                  <a:lnTo>
                    <a:pt x="146" y="758"/>
                  </a:lnTo>
                  <a:lnTo>
                    <a:pt x="110" y="722"/>
                  </a:lnTo>
                  <a:lnTo>
                    <a:pt x="78" y="681"/>
                  </a:lnTo>
                  <a:lnTo>
                    <a:pt x="51" y="637"/>
                  </a:lnTo>
                  <a:lnTo>
                    <a:pt x="30" y="590"/>
                  </a:lnTo>
                  <a:lnTo>
                    <a:pt x="13" y="541"/>
                  </a:lnTo>
                  <a:lnTo>
                    <a:pt x="3" y="489"/>
                  </a:lnTo>
                  <a:lnTo>
                    <a:pt x="0" y="434"/>
                  </a:lnTo>
                  <a:lnTo>
                    <a:pt x="3" y="380"/>
                  </a:lnTo>
                  <a:lnTo>
                    <a:pt x="13" y="327"/>
                  </a:lnTo>
                  <a:lnTo>
                    <a:pt x="30" y="278"/>
                  </a:lnTo>
                  <a:lnTo>
                    <a:pt x="51" y="230"/>
                  </a:lnTo>
                  <a:lnTo>
                    <a:pt x="78" y="186"/>
                  </a:lnTo>
                  <a:lnTo>
                    <a:pt x="110" y="147"/>
                  </a:lnTo>
                  <a:lnTo>
                    <a:pt x="146" y="110"/>
                  </a:lnTo>
                  <a:lnTo>
                    <a:pt x="186" y="79"/>
                  </a:lnTo>
                  <a:lnTo>
                    <a:pt x="230" y="52"/>
                  </a:lnTo>
                  <a:lnTo>
                    <a:pt x="277" y="30"/>
                  </a:lnTo>
                  <a:lnTo>
                    <a:pt x="327" y="14"/>
                  </a:lnTo>
                  <a:lnTo>
                    <a:pt x="380" y="4"/>
                  </a:lnTo>
                  <a:lnTo>
                    <a:pt x="433"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sp>
          <p:nvSpPr>
            <p:cNvPr id="38" name="Freeform 27"/>
            <p:cNvSpPr>
              <a:spLocks/>
            </p:cNvSpPr>
            <p:nvPr/>
          </p:nvSpPr>
          <p:spPr bwMode="auto">
            <a:xfrm>
              <a:off x="1037" y="2495"/>
              <a:ext cx="24" cy="24"/>
            </a:xfrm>
            <a:custGeom>
              <a:avLst/>
              <a:gdLst>
                <a:gd name="T0" fmla="*/ 58 w 242"/>
                <a:gd name="T1" fmla="*/ 0 h 242"/>
                <a:gd name="T2" fmla="*/ 91 w 242"/>
                <a:gd name="T3" fmla="*/ 3 h 242"/>
                <a:gd name="T4" fmla="*/ 122 w 242"/>
                <a:gd name="T5" fmla="*/ 12 h 242"/>
                <a:gd name="T6" fmla="*/ 151 w 242"/>
                <a:gd name="T7" fmla="*/ 25 h 242"/>
                <a:gd name="T8" fmla="*/ 176 w 242"/>
                <a:gd name="T9" fmla="*/ 44 h 242"/>
                <a:gd name="T10" fmla="*/ 199 w 242"/>
                <a:gd name="T11" fmla="*/ 66 h 242"/>
                <a:gd name="T12" fmla="*/ 217 w 242"/>
                <a:gd name="T13" fmla="*/ 91 h 242"/>
                <a:gd name="T14" fmla="*/ 230 w 242"/>
                <a:gd name="T15" fmla="*/ 120 h 242"/>
                <a:gd name="T16" fmla="*/ 239 w 242"/>
                <a:gd name="T17" fmla="*/ 151 h 242"/>
                <a:gd name="T18" fmla="*/ 242 w 242"/>
                <a:gd name="T19" fmla="*/ 184 h 242"/>
                <a:gd name="T20" fmla="*/ 239 w 242"/>
                <a:gd name="T21" fmla="*/ 203 h 242"/>
                <a:gd name="T22" fmla="*/ 231 w 242"/>
                <a:gd name="T23" fmla="*/ 219 h 242"/>
                <a:gd name="T24" fmla="*/ 218 w 242"/>
                <a:gd name="T25" fmla="*/ 231 h 242"/>
                <a:gd name="T26" fmla="*/ 201 w 242"/>
                <a:gd name="T27" fmla="*/ 240 h 242"/>
                <a:gd name="T28" fmla="*/ 184 w 242"/>
                <a:gd name="T29" fmla="*/ 242 h 242"/>
                <a:gd name="T30" fmla="*/ 165 w 242"/>
                <a:gd name="T31" fmla="*/ 240 h 242"/>
                <a:gd name="T32" fmla="*/ 149 w 242"/>
                <a:gd name="T33" fmla="*/ 231 h 242"/>
                <a:gd name="T34" fmla="*/ 137 w 242"/>
                <a:gd name="T35" fmla="*/ 219 h 242"/>
                <a:gd name="T36" fmla="*/ 128 w 242"/>
                <a:gd name="T37" fmla="*/ 203 h 242"/>
                <a:gd name="T38" fmla="*/ 124 w 242"/>
                <a:gd name="T39" fmla="*/ 184 h 242"/>
                <a:gd name="T40" fmla="*/ 121 w 242"/>
                <a:gd name="T41" fmla="*/ 163 h 242"/>
                <a:gd name="T42" fmla="*/ 112 w 242"/>
                <a:gd name="T43" fmla="*/ 145 h 242"/>
                <a:gd name="T44" fmla="*/ 98 w 242"/>
                <a:gd name="T45" fmla="*/ 131 h 242"/>
                <a:gd name="T46" fmla="*/ 79 w 242"/>
                <a:gd name="T47" fmla="*/ 121 h 242"/>
                <a:gd name="T48" fmla="*/ 58 w 242"/>
                <a:gd name="T49" fmla="*/ 118 h 242"/>
                <a:gd name="T50" fmla="*/ 40 w 242"/>
                <a:gd name="T51" fmla="*/ 115 h 242"/>
                <a:gd name="T52" fmla="*/ 24 w 242"/>
                <a:gd name="T53" fmla="*/ 107 h 242"/>
                <a:gd name="T54" fmla="*/ 11 w 242"/>
                <a:gd name="T55" fmla="*/ 94 h 242"/>
                <a:gd name="T56" fmla="*/ 2 w 242"/>
                <a:gd name="T57" fmla="*/ 77 h 242"/>
                <a:gd name="T58" fmla="*/ 0 w 242"/>
                <a:gd name="T59" fmla="*/ 60 h 242"/>
                <a:gd name="T60" fmla="*/ 2 w 242"/>
                <a:gd name="T61" fmla="*/ 41 h 242"/>
                <a:gd name="T62" fmla="*/ 11 w 242"/>
                <a:gd name="T63" fmla="*/ 24 h 242"/>
                <a:gd name="T64" fmla="*/ 24 w 242"/>
                <a:gd name="T65" fmla="*/ 12 h 242"/>
                <a:gd name="T66" fmla="*/ 40 w 242"/>
                <a:gd name="T67" fmla="*/ 3 h 242"/>
                <a:gd name="T68" fmla="*/ 58 w 242"/>
                <a:gd name="T69"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2" h="242">
                  <a:moveTo>
                    <a:pt x="58" y="0"/>
                  </a:moveTo>
                  <a:lnTo>
                    <a:pt x="91" y="3"/>
                  </a:lnTo>
                  <a:lnTo>
                    <a:pt x="122" y="12"/>
                  </a:lnTo>
                  <a:lnTo>
                    <a:pt x="151" y="25"/>
                  </a:lnTo>
                  <a:lnTo>
                    <a:pt x="176" y="44"/>
                  </a:lnTo>
                  <a:lnTo>
                    <a:pt x="199" y="66"/>
                  </a:lnTo>
                  <a:lnTo>
                    <a:pt x="217" y="91"/>
                  </a:lnTo>
                  <a:lnTo>
                    <a:pt x="230" y="120"/>
                  </a:lnTo>
                  <a:lnTo>
                    <a:pt x="239" y="151"/>
                  </a:lnTo>
                  <a:lnTo>
                    <a:pt x="242" y="184"/>
                  </a:lnTo>
                  <a:lnTo>
                    <a:pt x="239" y="203"/>
                  </a:lnTo>
                  <a:lnTo>
                    <a:pt x="231" y="219"/>
                  </a:lnTo>
                  <a:lnTo>
                    <a:pt x="218" y="231"/>
                  </a:lnTo>
                  <a:lnTo>
                    <a:pt x="201" y="240"/>
                  </a:lnTo>
                  <a:lnTo>
                    <a:pt x="184" y="242"/>
                  </a:lnTo>
                  <a:lnTo>
                    <a:pt x="165" y="240"/>
                  </a:lnTo>
                  <a:lnTo>
                    <a:pt x="149" y="231"/>
                  </a:lnTo>
                  <a:lnTo>
                    <a:pt x="137" y="219"/>
                  </a:lnTo>
                  <a:lnTo>
                    <a:pt x="128" y="203"/>
                  </a:lnTo>
                  <a:lnTo>
                    <a:pt x="124" y="184"/>
                  </a:lnTo>
                  <a:lnTo>
                    <a:pt x="121" y="163"/>
                  </a:lnTo>
                  <a:lnTo>
                    <a:pt x="112" y="145"/>
                  </a:lnTo>
                  <a:lnTo>
                    <a:pt x="98" y="131"/>
                  </a:lnTo>
                  <a:lnTo>
                    <a:pt x="79" y="121"/>
                  </a:lnTo>
                  <a:lnTo>
                    <a:pt x="58" y="118"/>
                  </a:lnTo>
                  <a:lnTo>
                    <a:pt x="40" y="115"/>
                  </a:lnTo>
                  <a:lnTo>
                    <a:pt x="24" y="107"/>
                  </a:lnTo>
                  <a:lnTo>
                    <a:pt x="11" y="94"/>
                  </a:lnTo>
                  <a:lnTo>
                    <a:pt x="2" y="77"/>
                  </a:lnTo>
                  <a:lnTo>
                    <a:pt x="0" y="60"/>
                  </a:lnTo>
                  <a:lnTo>
                    <a:pt x="2" y="41"/>
                  </a:lnTo>
                  <a:lnTo>
                    <a:pt x="11" y="24"/>
                  </a:lnTo>
                  <a:lnTo>
                    <a:pt x="24" y="12"/>
                  </a:lnTo>
                  <a:lnTo>
                    <a:pt x="40" y="3"/>
                  </a:lnTo>
                  <a:lnTo>
                    <a:pt x="58"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sp>
          <p:nvSpPr>
            <p:cNvPr id="39" name="Freeform 28"/>
            <p:cNvSpPr>
              <a:spLocks noEditPoints="1"/>
            </p:cNvSpPr>
            <p:nvPr/>
          </p:nvSpPr>
          <p:spPr bwMode="auto">
            <a:xfrm>
              <a:off x="881" y="2333"/>
              <a:ext cx="323" cy="361"/>
            </a:xfrm>
            <a:custGeom>
              <a:avLst/>
              <a:gdLst>
                <a:gd name="T0" fmla="*/ 2682 w 3232"/>
                <a:gd name="T1" fmla="*/ 2935 h 3614"/>
                <a:gd name="T2" fmla="*/ 1620 w 3232"/>
                <a:gd name="T3" fmla="*/ 2645 h 3614"/>
                <a:gd name="T4" fmla="*/ 1332 w 3232"/>
                <a:gd name="T5" fmla="*/ 3298 h 3614"/>
                <a:gd name="T6" fmla="*/ 1789 w 3232"/>
                <a:gd name="T7" fmla="*/ 3430 h 3614"/>
                <a:gd name="T8" fmla="*/ 1922 w 3232"/>
                <a:gd name="T9" fmla="*/ 2768 h 3614"/>
                <a:gd name="T10" fmla="*/ 2053 w 3232"/>
                <a:gd name="T11" fmla="*/ 2689 h 3614"/>
                <a:gd name="T12" fmla="*/ 1189 w 3232"/>
                <a:gd name="T13" fmla="*/ 2689 h 3614"/>
                <a:gd name="T14" fmla="*/ 131 w 3232"/>
                <a:gd name="T15" fmla="*/ 2142 h 3614"/>
                <a:gd name="T16" fmla="*/ 246 w 3232"/>
                <a:gd name="T17" fmla="*/ 2203 h 3614"/>
                <a:gd name="T18" fmla="*/ 345 w 3232"/>
                <a:gd name="T19" fmla="*/ 2095 h 3614"/>
                <a:gd name="T20" fmla="*/ 217 w 3232"/>
                <a:gd name="T21" fmla="*/ 2362 h 3614"/>
                <a:gd name="T22" fmla="*/ 156 w 3232"/>
                <a:gd name="T23" fmla="*/ 2652 h 3614"/>
                <a:gd name="T24" fmla="*/ 642 w 3232"/>
                <a:gd name="T25" fmla="*/ 2803 h 3614"/>
                <a:gd name="T26" fmla="*/ 678 w 3232"/>
                <a:gd name="T27" fmla="*/ 2061 h 3614"/>
                <a:gd name="T28" fmla="*/ 2283 w 3232"/>
                <a:gd name="T29" fmla="*/ 2651 h 3614"/>
                <a:gd name="T30" fmla="*/ 2682 w 3232"/>
                <a:gd name="T31" fmla="*/ 2686 h 3614"/>
                <a:gd name="T32" fmla="*/ 3011 w 3232"/>
                <a:gd name="T33" fmla="*/ 2730 h 3614"/>
                <a:gd name="T34" fmla="*/ 3063 w 3232"/>
                <a:gd name="T35" fmla="*/ 2317 h 3614"/>
                <a:gd name="T36" fmla="*/ 568 w 3232"/>
                <a:gd name="T37" fmla="*/ 1808 h 3614"/>
                <a:gd name="T38" fmla="*/ 2364 w 3232"/>
                <a:gd name="T39" fmla="*/ 1941 h 3614"/>
                <a:gd name="T40" fmla="*/ 1306 w 3232"/>
                <a:gd name="T41" fmla="*/ 1262 h 3614"/>
                <a:gd name="T42" fmla="*/ 1203 w 3232"/>
                <a:gd name="T43" fmla="*/ 2290 h 3614"/>
                <a:gd name="T44" fmla="*/ 2242 w 3232"/>
                <a:gd name="T45" fmla="*/ 2046 h 3614"/>
                <a:gd name="T46" fmla="*/ 1620 w 3232"/>
                <a:gd name="T47" fmla="*/ 1098 h 3614"/>
                <a:gd name="T48" fmla="*/ 2188 w 3232"/>
                <a:gd name="T49" fmla="*/ 1092 h 3614"/>
                <a:gd name="T50" fmla="*/ 1482 w 3232"/>
                <a:gd name="T51" fmla="*/ 1036 h 3614"/>
                <a:gd name="T52" fmla="*/ 269 w 3232"/>
                <a:gd name="T53" fmla="*/ 862 h 3614"/>
                <a:gd name="T54" fmla="*/ 158 w 3232"/>
                <a:gd name="T55" fmla="*/ 1247 h 3614"/>
                <a:gd name="T56" fmla="*/ 783 w 3232"/>
                <a:gd name="T57" fmla="*/ 1470 h 3614"/>
                <a:gd name="T58" fmla="*/ 577 w 3232"/>
                <a:gd name="T59" fmla="*/ 808 h 3614"/>
                <a:gd name="T60" fmla="*/ 2347 w 3232"/>
                <a:gd name="T61" fmla="*/ 1388 h 3614"/>
                <a:gd name="T62" fmla="*/ 3063 w 3232"/>
                <a:gd name="T63" fmla="*/ 1298 h 3614"/>
                <a:gd name="T64" fmla="*/ 3007 w 3232"/>
                <a:gd name="T65" fmla="*/ 883 h 3614"/>
                <a:gd name="T66" fmla="*/ 1879 w 3232"/>
                <a:gd name="T67" fmla="*/ 206 h 3614"/>
                <a:gd name="T68" fmla="*/ 1996 w 3232"/>
                <a:gd name="T69" fmla="*/ 267 h 3614"/>
                <a:gd name="T70" fmla="*/ 1452 w 3232"/>
                <a:gd name="T71" fmla="*/ 183 h 3614"/>
                <a:gd name="T72" fmla="*/ 1319 w 3232"/>
                <a:gd name="T73" fmla="*/ 845 h 3614"/>
                <a:gd name="T74" fmla="*/ 2037 w 3232"/>
                <a:gd name="T75" fmla="*/ 555 h 3614"/>
                <a:gd name="T76" fmla="*/ 1761 w 3232"/>
                <a:gd name="T77" fmla="*/ 310 h 3614"/>
                <a:gd name="T78" fmla="*/ 1668 w 3232"/>
                <a:gd name="T79" fmla="*/ 3 h 3614"/>
                <a:gd name="T80" fmla="*/ 2051 w 3232"/>
                <a:gd name="T81" fmla="*/ 105 h 3614"/>
                <a:gd name="T82" fmla="*/ 2143 w 3232"/>
                <a:gd name="T83" fmla="*/ 504 h 3614"/>
                <a:gd name="T84" fmla="*/ 2799 w 3232"/>
                <a:gd name="T85" fmla="*/ 697 h 3614"/>
                <a:gd name="T86" fmla="*/ 3220 w 3232"/>
                <a:gd name="T87" fmla="*/ 986 h 3614"/>
                <a:gd name="T88" fmla="*/ 3029 w 3232"/>
                <a:gd name="T89" fmla="*/ 1582 h 3614"/>
                <a:gd name="T90" fmla="*/ 3194 w 3232"/>
                <a:gd name="T91" fmla="*/ 2328 h 3614"/>
                <a:gd name="T92" fmla="*/ 3098 w 3232"/>
                <a:gd name="T93" fmla="*/ 2810 h 3614"/>
                <a:gd name="T94" fmla="*/ 2745 w 3232"/>
                <a:gd name="T95" fmla="*/ 3041 h 3614"/>
                <a:gd name="T96" fmla="*/ 2416 w 3232"/>
                <a:gd name="T97" fmla="*/ 2900 h 3614"/>
                <a:gd name="T98" fmla="*/ 1938 w 3232"/>
                <a:gd name="T99" fmla="*/ 3450 h 3614"/>
                <a:gd name="T100" fmla="*/ 1433 w 3232"/>
                <a:gd name="T101" fmla="*/ 3560 h 3614"/>
                <a:gd name="T102" fmla="*/ 1033 w 3232"/>
                <a:gd name="T103" fmla="*/ 2932 h 3614"/>
                <a:gd name="T104" fmla="*/ 319 w 3232"/>
                <a:gd name="T105" fmla="*/ 2895 h 3614"/>
                <a:gd name="T106" fmla="*/ 9 w 3232"/>
                <a:gd name="T107" fmla="*/ 2530 h 3614"/>
                <a:gd name="T108" fmla="*/ 12 w 3232"/>
                <a:gd name="T109" fmla="*/ 2118 h 3614"/>
                <a:gd name="T110" fmla="*/ 341 w 3232"/>
                <a:gd name="T111" fmla="*/ 1874 h 3614"/>
                <a:gd name="T112" fmla="*/ 18 w 3232"/>
                <a:gd name="T113" fmla="*/ 1178 h 3614"/>
                <a:gd name="T114" fmla="*/ 227 w 3232"/>
                <a:gd name="T115" fmla="*/ 753 h 3614"/>
                <a:gd name="T116" fmla="*/ 939 w 3232"/>
                <a:gd name="T117" fmla="*/ 735 h 3614"/>
                <a:gd name="T118" fmla="*/ 1345 w 3232"/>
                <a:gd name="T119" fmla="*/ 121 h 3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32" h="3614">
                  <a:moveTo>
                    <a:pt x="2682" y="2802"/>
                  </a:moveTo>
                  <a:lnTo>
                    <a:pt x="2661" y="2806"/>
                  </a:lnTo>
                  <a:lnTo>
                    <a:pt x="2644" y="2816"/>
                  </a:lnTo>
                  <a:lnTo>
                    <a:pt x="2628" y="2830"/>
                  </a:lnTo>
                  <a:lnTo>
                    <a:pt x="2619" y="2847"/>
                  </a:lnTo>
                  <a:lnTo>
                    <a:pt x="2616" y="2868"/>
                  </a:lnTo>
                  <a:lnTo>
                    <a:pt x="2619" y="2889"/>
                  </a:lnTo>
                  <a:lnTo>
                    <a:pt x="2628" y="2908"/>
                  </a:lnTo>
                  <a:lnTo>
                    <a:pt x="2644" y="2922"/>
                  </a:lnTo>
                  <a:lnTo>
                    <a:pt x="2661" y="2932"/>
                  </a:lnTo>
                  <a:lnTo>
                    <a:pt x="2682" y="2935"/>
                  </a:lnTo>
                  <a:lnTo>
                    <a:pt x="2703" y="2932"/>
                  </a:lnTo>
                  <a:lnTo>
                    <a:pt x="2722" y="2922"/>
                  </a:lnTo>
                  <a:lnTo>
                    <a:pt x="2736" y="2908"/>
                  </a:lnTo>
                  <a:lnTo>
                    <a:pt x="2745" y="2889"/>
                  </a:lnTo>
                  <a:lnTo>
                    <a:pt x="2749" y="2868"/>
                  </a:lnTo>
                  <a:lnTo>
                    <a:pt x="2745" y="2847"/>
                  </a:lnTo>
                  <a:lnTo>
                    <a:pt x="2736" y="2830"/>
                  </a:lnTo>
                  <a:lnTo>
                    <a:pt x="2722" y="2816"/>
                  </a:lnTo>
                  <a:lnTo>
                    <a:pt x="2703" y="2806"/>
                  </a:lnTo>
                  <a:lnTo>
                    <a:pt x="2682" y="2802"/>
                  </a:lnTo>
                  <a:close/>
                  <a:moveTo>
                    <a:pt x="1620" y="2645"/>
                  </a:moveTo>
                  <a:lnTo>
                    <a:pt x="1519" y="2690"/>
                  </a:lnTo>
                  <a:lnTo>
                    <a:pt x="1419" y="2731"/>
                  </a:lnTo>
                  <a:lnTo>
                    <a:pt x="1320" y="2768"/>
                  </a:lnTo>
                  <a:lnTo>
                    <a:pt x="1221" y="2802"/>
                  </a:lnTo>
                  <a:lnTo>
                    <a:pt x="1124" y="2832"/>
                  </a:lnTo>
                  <a:lnTo>
                    <a:pt x="1155" y="2930"/>
                  </a:lnTo>
                  <a:lnTo>
                    <a:pt x="1189" y="3022"/>
                  </a:lnTo>
                  <a:lnTo>
                    <a:pt x="1222" y="3102"/>
                  </a:lnTo>
                  <a:lnTo>
                    <a:pt x="1257" y="3174"/>
                  </a:lnTo>
                  <a:lnTo>
                    <a:pt x="1294" y="3239"/>
                  </a:lnTo>
                  <a:lnTo>
                    <a:pt x="1332" y="3298"/>
                  </a:lnTo>
                  <a:lnTo>
                    <a:pt x="1371" y="3350"/>
                  </a:lnTo>
                  <a:lnTo>
                    <a:pt x="1411" y="3394"/>
                  </a:lnTo>
                  <a:lnTo>
                    <a:pt x="1452" y="3430"/>
                  </a:lnTo>
                  <a:lnTo>
                    <a:pt x="1494" y="3459"/>
                  </a:lnTo>
                  <a:lnTo>
                    <a:pt x="1536" y="3480"/>
                  </a:lnTo>
                  <a:lnTo>
                    <a:pt x="1578" y="3493"/>
                  </a:lnTo>
                  <a:lnTo>
                    <a:pt x="1620" y="3498"/>
                  </a:lnTo>
                  <a:lnTo>
                    <a:pt x="1663" y="3493"/>
                  </a:lnTo>
                  <a:lnTo>
                    <a:pt x="1705" y="3480"/>
                  </a:lnTo>
                  <a:lnTo>
                    <a:pt x="1747" y="3459"/>
                  </a:lnTo>
                  <a:lnTo>
                    <a:pt x="1789" y="3430"/>
                  </a:lnTo>
                  <a:lnTo>
                    <a:pt x="1829" y="3394"/>
                  </a:lnTo>
                  <a:lnTo>
                    <a:pt x="1870" y="3350"/>
                  </a:lnTo>
                  <a:lnTo>
                    <a:pt x="1909" y="3298"/>
                  </a:lnTo>
                  <a:lnTo>
                    <a:pt x="1947" y="3239"/>
                  </a:lnTo>
                  <a:lnTo>
                    <a:pt x="1984" y="3174"/>
                  </a:lnTo>
                  <a:lnTo>
                    <a:pt x="2019" y="3102"/>
                  </a:lnTo>
                  <a:lnTo>
                    <a:pt x="2052" y="3022"/>
                  </a:lnTo>
                  <a:lnTo>
                    <a:pt x="2086" y="2929"/>
                  </a:lnTo>
                  <a:lnTo>
                    <a:pt x="2117" y="2831"/>
                  </a:lnTo>
                  <a:lnTo>
                    <a:pt x="2020" y="2801"/>
                  </a:lnTo>
                  <a:lnTo>
                    <a:pt x="1922" y="2768"/>
                  </a:lnTo>
                  <a:lnTo>
                    <a:pt x="1822" y="2731"/>
                  </a:lnTo>
                  <a:lnTo>
                    <a:pt x="1722" y="2690"/>
                  </a:lnTo>
                  <a:lnTo>
                    <a:pt x="1620" y="2645"/>
                  </a:lnTo>
                  <a:close/>
                  <a:moveTo>
                    <a:pt x="2219" y="2313"/>
                  </a:moveTo>
                  <a:lnTo>
                    <a:pt x="2108" y="2384"/>
                  </a:lnTo>
                  <a:lnTo>
                    <a:pt x="1993" y="2453"/>
                  </a:lnTo>
                  <a:lnTo>
                    <a:pt x="1877" y="2517"/>
                  </a:lnTo>
                  <a:lnTo>
                    <a:pt x="1760" y="2579"/>
                  </a:lnTo>
                  <a:lnTo>
                    <a:pt x="1858" y="2619"/>
                  </a:lnTo>
                  <a:lnTo>
                    <a:pt x="1956" y="2656"/>
                  </a:lnTo>
                  <a:lnTo>
                    <a:pt x="2053" y="2689"/>
                  </a:lnTo>
                  <a:lnTo>
                    <a:pt x="2147" y="2719"/>
                  </a:lnTo>
                  <a:lnTo>
                    <a:pt x="2169" y="2622"/>
                  </a:lnTo>
                  <a:lnTo>
                    <a:pt x="2188" y="2522"/>
                  </a:lnTo>
                  <a:lnTo>
                    <a:pt x="2206" y="2418"/>
                  </a:lnTo>
                  <a:lnTo>
                    <a:pt x="2219" y="2313"/>
                  </a:lnTo>
                  <a:close/>
                  <a:moveTo>
                    <a:pt x="1021" y="2313"/>
                  </a:moveTo>
                  <a:lnTo>
                    <a:pt x="1035" y="2418"/>
                  </a:lnTo>
                  <a:lnTo>
                    <a:pt x="1053" y="2522"/>
                  </a:lnTo>
                  <a:lnTo>
                    <a:pt x="1071" y="2622"/>
                  </a:lnTo>
                  <a:lnTo>
                    <a:pt x="1095" y="2719"/>
                  </a:lnTo>
                  <a:lnTo>
                    <a:pt x="1189" y="2689"/>
                  </a:lnTo>
                  <a:lnTo>
                    <a:pt x="1285" y="2656"/>
                  </a:lnTo>
                  <a:lnTo>
                    <a:pt x="1383" y="2620"/>
                  </a:lnTo>
                  <a:lnTo>
                    <a:pt x="1482" y="2579"/>
                  </a:lnTo>
                  <a:lnTo>
                    <a:pt x="1364" y="2517"/>
                  </a:lnTo>
                  <a:lnTo>
                    <a:pt x="1247" y="2453"/>
                  </a:lnTo>
                  <a:lnTo>
                    <a:pt x="1133" y="2384"/>
                  </a:lnTo>
                  <a:lnTo>
                    <a:pt x="1021" y="2313"/>
                  </a:lnTo>
                  <a:close/>
                  <a:moveTo>
                    <a:pt x="184" y="2116"/>
                  </a:moveTo>
                  <a:lnTo>
                    <a:pt x="163" y="2119"/>
                  </a:lnTo>
                  <a:lnTo>
                    <a:pt x="145" y="2128"/>
                  </a:lnTo>
                  <a:lnTo>
                    <a:pt x="131" y="2142"/>
                  </a:lnTo>
                  <a:lnTo>
                    <a:pt x="121" y="2161"/>
                  </a:lnTo>
                  <a:lnTo>
                    <a:pt x="118" y="2182"/>
                  </a:lnTo>
                  <a:lnTo>
                    <a:pt x="121" y="2203"/>
                  </a:lnTo>
                  <a:lnTo>
                    <a:pt x="131" y="2220"/>
                  </a:lnTo>
                  <a:lnTo>
                    <a:pt x="145" y="2236"/>
                  </a:lnTo>
                  <a:lnTo>
                    <a:pt x="163" y="2245"/>
                  </a:lnTo>
                  <a:lnTo>
                    <a:pt x="184" y="2248"/>
                  </a:lnTo>
                  <a:lnTo>
                    <a:pt x="205" y="2245"/>
                  </a:lnTo>
                  <a:lnTo>
                    <a:pt x="223" y="2236"/>
                  </a:lnTo>
                  <a:lnTo>
                    <a:pt x="238" y="2220"/>
                  </a:lnTo>
                  <a:lnTo>
                    <a:pt x="246" y="2203"/>
                  </a:lnTo>
                  <a:lnTo>
                    <a:pt x="251" y="2182"/>
                  </a:lnTo>
                  <a:lnTo>
                    <a:pt x="246" y="2161"/>
                  </a:lnTo>
                  <a:lnTo>
                    <a:pt x="238" y="2142"/>
                  </a:lnTo>
                  <a:lnTo>
                    <a:pt x="223" y="2128"/>
                  </a:lnTo>
                  <a:lnTo>
                    <a:pt x="205" y="2119"/>
                  </a:lnTo>
                  <a:lnTo>
                    <a:pt x="184" y="2116"/>
                  </a:lnTo>
                  <a:close/>
                  <a:moveTo>
                    <a:pt x="485" y="1890"/>
                  </a:moveTo>
                  <a:lnTo>
                    <a:pt x="429" y="1951"/>
                  </a:lnTo>
                  <a:lnTo>
                    <a:pt x="377" y="2010"/>
                  </a:lnTo>
                  <a:lnTo>
                    <a:pt x="330" y="2071"/>
                  </a:lnTo>
                  <a:lnTo>
                    <a:pt x="345" y="2095"/>
                  </a:lnTo>
                  <a:lnTo>
                    <a:pt x="357" y="2123"/>
                  </a:lnTo>
                  <a:lnTo>
                    <a:pt x="365" y="2151"/>
                  </a:lnTo>
                  <a:lnTo>
                    <a:pt x="367" y="2182"/>
                  </a:lnTo>
                  <a:lnTo>
                    <a:pt x="364" y="2215"/>
                  </a:lnTo>
                  <a:lnTo>
                    <a:pt x="356" y="2246"/>
                  </a:lnTo>
                  <a:lnTo>
                    <a:pt x="342" y="2274"/>
                  </a:lnTo>
                  <a:lnTo>
                    <a:pt x="324" y="2300"/>
                  </a:lnTo>
                  <a:lnTo>
                    <a:pt x="302" y="2322"/>
                  </a:lnTo>
                  <a:lnTo>
                    <a:pt x="276" y="2340"/>
                  </a:lnTo>
                  <a:lnTo>
                    <a:pt x="247" y="2354"/>
                  </a:lnTo>
                  <a:lnTo>
                    <a:pt x="217" y="2362"/>
                  </a:lnTo>
                  <a:lnTo>
                    <a:pt x="184" y="2366"/>
                  </a:lnTo>
                  <a:lnTo>
                    <a:pt x="159" y="2363"/>
                  </a:lnTo>
                  <a:lnTo>
                    <a:pt x="148" y="2394"/>
                  </a:lnTo>
                  <a:lnTo>
                    <a:pt x="140" y="2425"/>
                  </a:lnTo>
                  <a:lnTo>
                    <a:pt x="133" y="2458"/>
                  </a:lnTo>
                  <a:lnTo>
                    <a:pt x="128" y="2491"/>
                  </a:lnTo>
                  <a:lnTo>
                    <a:pt x="125" y="2525"/>
                  </a:lnTo>
                  <a:lnTo>
                    <a:pt x="128" y="2558"/>
                  </a:lnTo>
                  <a:lnTo>
                    <a:pt x="133" y="2590"/>
                  </a:lnTo>
                  <a:lnTo>
                    <a:pt x="142" y="2622"/>
                  </a:lnTo>
                  <a:lnTo>
                    <a:pt x="156" y="2652"/>
                  </a:lnTo>
                  <a:lnTo>
                    <a:pt x="177" y="2681"/>
                  </a:lnTo>
                  <a:lnTo>
                    <a:pt x="203" y="2708"/>
                  </a:lnTo>
                  <a:lnTo>
                    <a:pt x="234" y="2732"/>
                  </a:lnTo>
                  <a:lnTo>
                    <a:pt x="269" y="2752"/>
                  </a:lnTo>
                  <a:lnTo>
                    <a:pt x="310" y="2769"/>
                  </a:lnTo>
                  <a:lnTo>
                    <a:pt x="355" y="2783"/>
                  </a:lnTo>
                  <a:lnTo>
                    <a:pt x="405" y="2794"/>
                  </a:lnTo>
                  <a:lnTo>
                    <a:pt x="458" y="2801"/>
                  </a:lnTo>
                  <a:lnTo>
                    <a:pt x="516" y="2806"/>
                  </a:lnTo>
                  <a:lnTo>
                    <a:pt x="577" y="2806"/>
                  </a:lnTo>
                  <a:lnTo>
                    <a:pt x="642" y="2803"/>
                  </a:lnTo>
                  <a:lnTo>
                    <a:pt x="712" y="2798"/>
                  </a:lnTo>
                  <a:lnTo>
                    <a:pt x="783" y="2788"/>
                  </a:lnTo>
                  <a:lnTo>
                    <a:pt x="881" y="2772"/>
                  </a:lnTo>
                  <a:lnTo>
                    <a:pt x="981" y="2748"/>
                  </a:lnTo>
                  <a:lnTo>
                    <a:pt x="958" y="2651"/>
                  </a:lnTo>
                  <a:lnTo>
                    <a:pt x="938" y="2548"/>
                  </a:lnTo>
                  <a:lnTo>
                    <a:pt x="921" y="2444"/>
                  </a:lnTo>
                  <a:lnTo>
                    <a:pt x="906" y="2336"/>
                  </a:lnTo>
                  <a:lnTo>
                    <a:pt x="894" y="2226"/>
                  </a:lnTo>
                  <a:lnTo>
                    <a:pt x="783" y="2145"/>
                  </a:lnTo>
                  <a:lnTo>
                    <a:pt x="678" y="2061"/>
                  </a:lnTo>
                  <a:lnTo>
                    <a:pt x="579" y="1976"/>
                  </a:lnTo>
                  <a:lnTo>
                    <a:pt x="485" y="1890"/>
                  </a:lnTo>
                  <a:close/>
                  <a:moveTo>
                    <a:pt x="2756" y="1890"/>
                  </a:moveTo>
                  <a:lnTo>
                    <a:pt x="2662" y="1976"/>
                  </a:lnTo>
                  <a:lnTo>
                    <a:pt x="2563" y="2061"/>
                  </a:lnTo>
                  <a:lnTo>
                    <a:pt x="2458" y="2145"/>
                  </a:lnTo>
                  <a:lnTo>
                    <a:pt x="2347" y="2226"/>
                  </a:lnTo>
                  <a:lnTo>
                    <a:pt x="2334" y="2336"/>
                  </a:lnTo>
                  <a:lnTo>
                    <a:pt x="2320" y="2444"/>
                  </a:lnTo>
                  <a:lnTo>
                    <a:pt x="2303" y="2548"/>
                  </a:lnTo>
                  <a:lnTo>
                    <a:pt x="2283" y="2651"/>
                  </a:lnTo>
                  <a:lnTo>
                    <a:pt x="2260" y="2748"/>
                  </a:lnTo>
                  <a:lnTo>
                    <a:pt x="2348" y="2768"/>
                  </a:lnTo>
                  <a:lnTo>
                    <a:pt x="2432" y="2784"/>
                  </a:lnTo>
                  <a:lnTo>
                    <a:pt x="2514" y="2796"/>
                  </a:lnTo>
                  <a:lnTo>
                    <a:pt x="2528" y="2769"/>
                  </a:lnTo>
                  <a:lnTo>
                    <a:pt x="2547" y="2745"/>
                  </a:lnTo>
                  <a:lnTo>
                    <a:pt x="2569" y="2725"/>
                  </a:lnTo>
                  <a:lnTo>
                    <a:pt x="2593" y="2709"/>
                  </a:lnTo>
                  <a:lnTo>
                    <a:pt x="2621" y="2696"/>
                  </a:lnTo>
                  <a:lnTo>
                    <a:pt x="2651" y="2688"/>
                  </a:lnTo>
                  <a:lnTo>
                    <a:pt x="2682" y="2686"/>
                  </a:lnTo>
                  <a:lnTo>
                    <a:pt x="2713" y="2688"/>
                  </a:lnTo>
                  <a:lnTo>
                    <a:pt x="2743" y="2696"/>
                  </a:lnTo>
                  <a:lnTo>
                    <a:pt x="2769" y="2708"/>
                  </a:lnTo>
                  <a:lnTo>
                    <a:pt x="2794" y="2723"/>
                  </a:lnTo>
                  <a:lnTo>
                    <a:pt x="2815" y="2743"/>
                  </a:lnTo>
                  <a:lnTo>
                    <a:pt x="2834" y="2766"/>
                  </a:lnTo>
                  <a:lnTo>
                    <a:pt x="2848" y="2791"/>
                  </a:lnTo>
                  <a:lnTo>
                    <a:pt x="2896" y="2780"/>
                  </a:lnTo>
                  <a:lnTo>
                    <a:pt x="2938" y="2766"/>
                  </a:lnTo>
                  <a:lnTo>
                    <a:pt x="2977" y="2750"/>
                  </a:lnTo>
                  <a:lnTo>
                    <a:pt x="3011" y="2730"/>
                  </a:lnTo>
                  <a:lnTo>
                    <a:pt x="3040" y="2707"/>
                  </a:lnTo>
                  <a:lnTo>
                    <a:pt x="3065" y="2680"/>
                  </a:lnTo>
                  <a:lnTo>
                    <a:pt x="3085" y="2652"/>
                  </a:lnTo>
                  <a:lnTo>
                    <a:pt x="3100" y="2620"/>
                  </a:lnTo>
                  <a:lnTo>
                    <a:pt x="3110" y="2583"/>
                  </a:lnTo>
                  <a:lnTo>
                    <a:pt x="3114" y="2546"/>
                  </a:lnTo>
                  <a:lnTo>
                    <a:pt x="3114" y="2504"/>
                  </a:lnTo>
                  <a:lnTo>
                    <a:pt x="3109" y="2461"/>
                  </a:lnTo>
                  <a:lnTo>
                    <a:pt x="3098" y="2415"/>
                  </a:lnTo>
                  <a:lnTo>
                    <a:pt x="3083" y="2367"/>
                  </a:lnTo>
                  <a:lnTo>
                    <a:pt x="3063" y="2317"/>
                  </a:lnTo>
                  <a:lnTo>
                    <a:pt x="3037" y="2264"/>
                  </a:lnTo>
                  <a:lnTo>
                    <a:pt x="3008" y="2212"/>
                  </a:lnTo>
                  <a:lnTo>
                    <a:pt x="2973" y="2156"/>
                  </a:lnTo>
                  <a:lnTo>
                    <a:pt x="2933" y="2099"/>
                  </a:lnTo>
                  <a:lnTo>
                    <a:pt x="2889" y="2041"/>
                  </a:lnTo>
                  <a:lnTo>
                    <a:pt x="2825" y="1965"/>
                  </a:lnTo>
                  <a:lnTo>
                    <a:pt x="2756" y="1890"/>
                  </a:lnTo>
                  <a:close/>
                  <a:moveTo>
                    <a:pt x="882" y="1542"/>
                  </a:moveTo>
                  <a:lnTo>
                    <a:pt x="771" y="1629"/>
                  </a:lnTo>
                  <a:lnTo>
                    <a:pt x="666" y="1718"/>
                  </a:lnTo>
                  <a:lnTo>
                    <a:pt x="568" y="1808"/>
                  </a:lnTo>
                  <a:lnTo>
                    <a:pt x="666" y="1897"/>
                  </a:lnTo>
                  <a:lnTo>
                    <a:pt x="771" y="1986"/>
                  </a:lnTo>
                  <a:lnTo>
                    <a:pt x="882" y="2073"/>
                  </a:lnTo>
                  <a:lnTo>
                    <a:pt x="877" y="1941"/>
                  </a:lnTo>
                  <a:lnTo>
                    <a:pt x="875" y="1807"/>
                  </a:lnTo>
                  <a:lnTo>
                    <a:pt x="877" y="1674"/>
                  </a:lnTo>
                  <a:lnTo>
                    <a:pt x="882" y="1542"/>
                  </a:lnTo>
                  <a:close/>
                  <a:moveTo>
                    <a:pt x="2359" y="1542"/>
                  </a:moveTo>
                  <a:lnTo>
                    <a:pt x="2364" y="1674"/>
                  </a:lnTo>
                  <a:lnTo>
                    <a:pt x="2366" y="1807"/>
                  </a:lnTo>
                  <a:lnTo>
                    <a:pt x="2364" y="1941"/>
                  </a:lnTo>
                  <a:lnTo>
                    <a:pt x="2359" y="2073"/>
                  </a:lnTo>
                  <a:lnTo>
                    <a:pt x="2470" y="1986"/>
                  </a:lnTo>
                  <a:lnTo>
                    <a:pt x="2575" y="1897"/>
                  </a:lnTo>
                  <a:lnTo>
                    <a:pt x="2673" y="1807"/>
                  </a:lnTo>
                  <a:lnTo>
                    <a:pt x="2575" y="1717"/>
                  </a:lnTo>
                  <a:lnTo>
                    <a:pt x="2470" y="1629"/>
                  </a:lnTo>
                  <a:lnTo>
                    <a:pt x="2359" y="1542"/>
                  </a:lnTo>
                  <a:close/>
                  <a:moveTo>
                    <a:pt x="1620" y="1098"/>
                  </a:moveTo>
                  <a:lnTo>
                    <a:pt x="1516" y="1149"/>
                  </a:lnTo>
                  <a:lnTo>
                    <a:pt x="1411" y="1204"/>
                  </a:lnTo>
                  <a:lnTo>
                    <a:pt x="1306" y="1262"/>
                  </a:lnTo>
                  <a:lnTo>
                    <a:pt x="1203" y="1324"/>
                  </a:lnTo>
                  <a:lnTo>
                    <a:pt x="1103" y="1388"/>
                  </a:lnTo>
                  <a:lnTo>
                    <a:pt x="1007" y="1453"/>
                  </a:lnTo>
                  <a:lnTo>
                    <a:pt x="999" y="1569"/>
                  </a:lnTo>
                  <a:lnTo>
                    <a:pt x="993" y="1687"/>
                  </a:lnTo>
                  <a:lnTo>
                    <a:pt x="992" y="1807"/>
                  </a:lnTo>
                  <a:lnTo>
                    <a:pt x="993" y="1927"/>
                  </a:lnTo>
                  <a:lnTo>
                    <a:pt x="999" y="2046"/>
                  </a:lnTo>
                  <a:lnTo>
                    <a:pt x="1007" y="2162"/>
                  </a:lnTo>
                  <a:lnTo>
                    <a:pt x="1103" y="2227"/>
                  </a:lnTo>
                  <a:lnTo>
                    <a:pt x="1203" y="2290"/>
                  </a:lnTo>
                  <a:lnTo>
                    <a:pt x="1306" y="2351"/>
                  </a:lnTo>
                  <a:lnTo>
                    <a:pt x="1410" y="2410"/>
                  </a:lnTo>
                  <a:lnTo>
                    <a:pt x="1516" y="2465"/>
                  </a:lnTo>
                  <a:lnTo>
                    <a:pt x="1620" y="2516"/>
                  </a:lnTo>
                  <a:lnTo>
                    <a:pt x="1725" y="2465"/>
                  </a:lnTo>
                  <a:lnTo>
                    <a:pt x="1831" y="2410"/>
                  </a:lnTo>
                  <a:lnTo>
                    <a:pt x="1935" y="2351"/>
                  </a:lnTo>
                  <a:lnTo>
                    <a:pt x="2037" y="2290"/>
                  </a:lnTo>
                  <a:lnTo>
                    <a:pt x="2138" y="2227"/>
                  </a:lnTo>
                  <a:lnTo>
                    <a:pt x="2234" y="2162"/>
                  </a:lnTo>
                  <a:lnTo>
                    <a:pt x="2242" y="2046"/>
                  </a:lnTo>
                  <a:lnTo>
                    <a:pt x="2248" y="1927"/>
                  </a:lnTo>
                  <a:lnTo>
                    <a:pt x="2249" y="1807"/>
                  </a:lnTo>
                  <a:lnTo>
                    <a:pt x="2248" y="1687"/>
                  </a:lnTo>
                  <a:lnTo>
                    <a:pt x="2242" y="1569"/>
                  </a:lnTo>
                  <a:lnTo>
                    <a:pt x="2234" y="1453"/>
                  </a:lnTo>
                  <a:lnTo>
                    <a:pt x="2138" y="1388"/>
                  </a:lnTo>
                  <a:lnTo>
                    <a:pt x="2037" y="1324"/>
                  </a:lnTo>
                  <a:lnTo>
                    <a:pt x="1935" y="1262"/>
                  </a:lnTo>
                  <a:lnTo>
                    <a:pt x="1829" y="1204"/>
                  </a:lnTo>
                  <a:lnTo>
                    <a:pt x="1725" y="1149"/>
                  </a:lnTo>
                  <a:lnTo>
                    <a:pt x="1620" y="1098"/>
                  </a:lnTo>
                  <a:close/>
                  <a:moveTo>
                    <a:pt x="2146" y="896"/>
                  </a:moveTo>
                  <a:lnTo>
                    <a:pt x="2052" y="925"/>
                  </a:lnTo>
                  <a:lnTo>
                    <a:pt x="1956" y="958"/>
                  </a:lnTo>
                  <a:lnTo>
                    <a:pt x="1858" y="995"/>
                  </a:lnTo>
                  <a:lnTo>
                    <a:pt x="1759" y="1036"/>
                  </a:lnTo>
                  <a:lnTo>
                    <a:pt x="1877" y="1096"/>
                  </a:lnTo>
                  <a:lnTo>
                    <a:pt x="1993" y="1161"/>
                  </a:lnTo>
                  <a:lnTo>
                    <a:pt x="2108" y="1230"/>
                  </a:lnTo>
                  <a:lnTo>
                    <a:pt x="2219" y="1301"/>
                  </a:lnTo>
                  <a:lnTo>
                    <a:pt x="2205" y="1195"/>
                  </a:lnTo>
                  <a:lnTo>
                    <a:pt x="2188" y="1092"/>
                  </a:lnTo>
                  <a:lnTo>
                    <a:pt x="2168" y="992"/>
                  </a:lnTo>
                  <a:lnTo>
                    <a:pt x="2146" y="896"/>
                  </a:lnTo>
                  <a:close/>
                  <a:moveTo>
                    <a:pt x="1095" y="896"/>
                  </a:moveTo>
                  <a:lnTo>
                    <a:pt x="1071" y="993"/>
                  </a:lnTo>
                  <a:lnTo>
                    <a:pt x="1053" y="1092"/>
                  </a:lnTo>
                  <a:lnTo>
                    <a:pt x="1035" y="1195"/>
                  </a:lnTo>
                  <a:lnTo>
                    <a:pt x="1021" y="1301"/>
                  </a:lnTo>
                  <a:lnTo>
                    <a:pt x="1133" y="1230"/>
                  </a:lnTo>
                  <a:lnTo>
                    <a:pt x="1247" y="1161"/>
                  </a:lnTo>
                  <a:lnTo>
                    <a:pt x="1364" y="1096"/>
                  </a:lnTo>
                  <a:lnTo>
                    <a:pt x="1482" y="1036"/>
                  </a:lnTo>
                  <a:lnTo>
                    <a:pt x="1383" y="995"/>
                  </a:lnTo>
                  <a:lnTo>
                    <a:pt x="1285" y="958"/>
                  </a:lnTo>
                  <a:lnTo>
                    <a:pt x="1189" y="925"/>
                  </a:lnTo>
                  <a:lnTo>
                    <a:pt x="1095" y="896"/>
                  </a:lnTo>
                  <a:close/>
                  <a:moveTo>
                    <a:pt x="577" y="808"/>
                  </a:moveTo>
                  <a:lnTo>
                    <a:pt x="516" y="809"/>
                  </a:lnTo>
                  <a:lnTo>
                    <a:pt x="458" y="814"/>
                  </a:lnTo>
                  <a:lnTo>
                    <a:pt x="404" y="820"/>
                  </a:lnTo>
                  <a:lnTo>
                    <a:pt x="355" y="831"/>
                  </a:lnTo>
                  <a:lnTo>
                    <a:pt x="310" y="845"/>
                  </a:lnTo>
                  <a:lnTo>
                    <a:pt x="269" y="862"/>
                  </a:lnTo>
                  <a:lnTo>
                    <a:pt x="234" y="883"/>
                  </a:lnTo>
                  <a:lnTo>
                    <a:pt x="203" y="906"/>
                  </a:lnTo>
                  <a:lnTo>
                    <a:pt x="177" y="932"/>
                  </a:lnTo>
                  <a:lnTo>
                    <a:pt x="156" y="962"/>
                  </a:lnTo>
                  <a:lnTo>
                    <a:pt x="141" y="995"/>
                  </a:lnTo>
                  <a:lnTo>
                    <a:pt x="131" y="1030"/>
                  </a:lnTo>
                  <a:lnTo>
                    <a:pt x="126" y="1069"/>
                  </a:lnTo>
                  <a:lnTo>
                    <a:pt x="126" y="1109"/>
                  </a:lnTo>
                  <a:lnTo>
                    <a:pt x="132" y="1153"/>
                  </a:lnTo>
                  <a:lnTo>
                    <a:pt x="143" y="1200"/>
                  </a:lnTo>
                  <a:lnTo>
                    <a:pt x="158" y="1247"/>
                  </a:lnTo>
                  <a:lnTo>
                    <a:pt x="178" y="1298"/>
                  </a:lnTo>
                  <a:lnTo>
                    <a:pt x="203" y="1349"/>
                  </a:lnTo>
                  <a:lnTo>
                    <a:pt x="233" y="1403"/>
                  </a:lnTo>
                  <a:lnTo>
                    <a:pt x="268" y="1458"/>
                  </a:lnTo>
                  <a:lnTo>
                    <a:pt x="308" y="1515"/>
                  </a:lnTo>
                  <a:lnTo>
                    <a:pt x="352" y="1573"/>
                  </a:lnTo>
                  <a:lnTo>
                    <a:pt x="416" y="1648"/>
                  </a:lnTo>
                  <a:lnTo>
                    <a:pt x="485" y="1724"/>
                  </a:lnTo>
                  <a:lnTo>
                    <a:pt x="579" y="1639"/>
                  </a:lnTo>
                  <a:lnTo>
                    <a:pt x="679" y="1554"/>
                  </a:lnTo>
                  <a:lnTo>
                    <a:pt x="783" y="1470"/>
                  </a:lnTo>
                  <a:lnTo>
                    <a:pt x="894" y="1389"/>
                  </a:lnTo>
                  <a:lnTo>
                    <a:pt x="906" y="1279"/>
                  </a:lnTo>
                  <a:lnTo>
                    <a:pt x="921" y="1171"/>
                  </a:lnTo>
                  <a:lnTo>
                    <a:pt x="938" y="1065"/>
                  </a:lnTo>
                  <a:lnTo>
                    <a:pt x="958" y="964"/>
                  </a:lnTo>
                  <a:lnTo>
                    <a:pt x="981" y="865"/>
                  </a:lnTo>
                  <a:lnTo>
                    <a:pt x="881" y="843"/>
                  </a:lnTo>
                  <a:lnTo>
                    <a:pt x="783" y="826"/>
                  </a:lnTo>
                  <a:lnTo>
                    <a:pt x="712" y="817"/>
                  </a:lnTo>
                  <a:lnTo>
                    <a:pt x="642" y="810"/>
                  </a:lnTo>
                  <a:lnTo>
                    <a:pt x="577" y="808"/>
                  </a:lnTo>
                  <a:close/>
                  <a:moveTo>
                    <a:pt x="2663" y="808"/>
                  </a:moveTo>
                  <a:lnTo>
                    <a:pt x="2599" y="810"/>
                  </a:lnTo>
                  <a:lnTo>
                    <a:pt x="2529" y="817"/>
                  </a:lnTo>
                  <a:lnTo>
                    <a:pt x="2458" y="826"/>
                  </a:lnTo>
                  <a:lnTo>
                    <a:pt x="2360" y="843"/>
                  </a:lnTo>
                  <a:lnTo>
                    <a:pt x="2260" y="865"/>
                  </a:lnTo>
                  <a:lnTo>
                    <a:pt x="2282" y="964"/>
                  </a:lnTo>
                  <a:lnTo>
                    <a:pt x="2301" y="1065"/>
                  </a:lnTo>
                  <a:lnTo>
                    <a:pt x="2319" y="1170"/>
                  </a:lnTo>
                  <a:lnTo>
                    <a:pt x="2334" y="1278"/>
                  </a:lnTo>
                  <a:lnTo>
                    <a:pt x="2347" y="1388"/>
                  </a:lnTo>
                  <a:lnTo>
                    <a:pt x="2458" y="1469"/>
                  </a:lnTo>
                  <a:lnTo>
                    <a:pt x="2563" y="1553"/>
                  </a:lnTo>
                  <a:lnTo>
                    <a:pt x="2662" y="1639"/>
                  </a:lnTo>
                  <a:lnTo>
                    <a:pt x="2756" y="1724"/>
                  </a:lnTo>
                  <a:lnTo>
                    <a:pt x="2825" y="1648"/>
                  </a:lnTo>
                  <a:lnTo>
                    <a:pt x="2889" y="1573"/>
                  </a:lnTo>
                  <a:lnTo>
                    <a:pt x="2933" y="1515"/>
                  </a:lnTo>
                  <a:lnTo>
                    <a:pt x="2973" y="1458"/>
                  </a:lnTo>
                  <a:lnTo>
                    <a:pt x="3008" y="1403"/>
                  </a:lnTo>
                  <a:lnTo>
                    <a:pt x="3037" y="1349"/>
                  </a:lnTo>
                  <a:lnTo>
                    <a:pt x="3063" y="1298"/>
                  </a:lnTo>
                  <a:lnTo>
                    <a:pt x="3083" y="1247"/>
                  </a:lnTo>
                  <a:lnTo>
                    <a:pt x="3098" y="1200"/>
                  </a:lnTo>
                  <a:lnTo>
                    <a:pt x="3109" y="1153"/>
                  </a:lnTo>
                  <a:lnTo>
                    <a:pt x="3114" y="1109"/>
                  </a:lnTo>
                  <a:lnTo>
                    <a:pt x="3114" y="1069"/>
                  </a:lnTo>
                  <a:lnTo>
                    <a:pt x="3110" y="1030"/>
                  </a:lnTo>
                  <a:lnTo>
                    <a:pt x="3100" y="995"/>
                  </a:lnTo>
                  <a:lnTo>
                    <a:pt x="3085" y="962"/>
                  </a:lnTo>
                  <a:lnTo>
                    <a:pt x="3064" y="932"/>
                  </a:lnTo>
                  <a:lnTo>
                    <a:pt x="3037" y="906"/>
                  </a:lnTo>
                  <a:lnTo>
                    <a:pt x="3007" y="883"/>
                  </a:lnTo>
                  <a:lnTo>
                    <a:pt x="2971" y="862"/>
                  </a:lnTo>
                  <a:lnTo>
                    <a:pt x="2931" y="845"/>
                  </a:lnTo>
                  <a:lnTo>
                    <a:pt x="2886" y="831"/>
                  </a:lnTo>
                  <a:lnTo>
                    <a:pt x="2836" y="820"/>
                  </a:lnTo>
                  <a:lnTo>
                    <a:pt x="2783" y="814"/>
                  </a:lnTo>
                  <a:lnTo>
                    <a:pt x="2725" y="809"/>
                  </a:lnTo>
                  <a:lnTo>
                    <a:pt x="2663" y="808"/>
                  </a:lnTo>
                  <a:close/>
                  <a:moveTo>
                    <a:pt x="1933" y="180"/>
                  </a:moveTo>
                  <a:lnTo>
                    <a:pt x="1912" y="183"/>
                  </a:lnTo>
                  <a:lnTo>
                    <a:pt x="1893" y="192"/>
                  </a:lnTo>
                  <a:lnTo>
                    <a:pt x="1879" y="206"/>
                  </a:lnTo>
                  <a:lnTo>
                    <a:pt x="1870" y="225"/>
                  </a:lnTo>
                  <a:lnTo>
                    <a:pt x="1867" y="246"/>
                  </a:lnTo>
                  <a:lnTo>
                    <a:pt x="1870" y="267"/>
                  </a:lnTo>
                  <a:lnTo>
                    <a:pt x="1879" y="284"/>
                  </a:lnTo>
                  <a:lnTo>
                    <a:pt x="1893" y="300"/>
                  </a:lnTo>
                  <a:lnTo>
                    <a:pt x="1912" y="309"/>
                  </a:lnTo>
                  <a:lnTo>
                    <a:pt x="1933" y="312"/>
                  </a:lnTo>
                  <a:lnTo>
                    <a:pt x="1954" y="309"/>
                  </a:lnTo>
                  <a:lnTo>
                    <a:pt x="1971" y="300"/>
                  </a:lnTo>
                  <a:lnTo>
                    <a:pt x="1987" y="284"/>
                  </a:lnTo>
                  <a:lnTo>
                    <a:pt x="1996" y="267"/>
                  </a:lnTo>
                  <a:lnTo>
                    <a:pt x="1999" y="246"/>
                  </a:lnTo>
                  <a:lnTo>
                    <a:pt x="1996" y="225"/>
                  </a:lnTo>
                  <a:lnTo>
                    <a:pt x="1987" y="206"/>
                  </a:lnTo>
                  <a:lnTo>
                    <a:pt x="1971" y="192"/>
                  </a:lnTo>
                  <a:lnTo>
                    <a:pt x="1954" y="183"/>
                  </a:lnTo>
                  <a:lnTo>
                    <a:pt x="1933" y="180"/>
                  </a:lnTo>
                  <a:close/>
                  <a:moveTo>
                    <a:pt x="1620" y="117"/>
                  </a:moveTo>
                  <a:lnTo>
                    <a:pt x="1578" y="122"/>
                  </a:lnTo>
                  <a:lnTo>
                    <a:pt x="1536" y="134"/>
                  </a:lnTo>
                  <a:lnTo>
                    <a:pt x="1494" y="155"/>
                  </a:lnTo>
                  <a:lnTo>
                    <a:pt x="1452" y="183"/>
                  </a:lnTo>
                  <a:lnTo>
                    <a:pt x="1411" y="221"/>
                  </a:lnTo>
                  <a:lnTo>
                    <a:pt x="1371" y="265"/>
                  </a:lnTo>
                  <a:lnTo>
                    <a:pt x="1332" y="316"/>
                  </a:lnTo>
                  <a:lnTo>
                    <a:pt x="1294" y="375"/>
                  </a:lnTo>
                  <a:lnTo>
                    <a:pt x="1257" y="441"/>
                  </a:lnTo>
                  <a:lnTo>
                    <a:pt x="1222" y="513"/>
                  </a:lnTo>
                  <a:lnTo>
                    <a:pt x="1189" y="592"/>
                  </a:lnTo>
                  <a:lnTo>
                    <a:pt x="1155" y="685"/>
                  </a:lnTo>
                  <a:lnTo>
                    <a:pt x="1124" y="783"/>
                  </a:lnTo>
                  <a:lnTo>
                    <a:pt x="1221" y="812"/>
                  </a:lnTo>
                  <a:lnTo>
                    <a:pt x="1319" y="845"/>
                  </a:lnTo>
                  <a:lnTo>
                    <a:pt x="1419" y="883"/>
                  </a:lnTo>
                  <a:lnTo>
                    <a:pt x="1519" y="925"/>
                  </a:lnTo>
                  <a:lnTo>
                    <a:pt x="1620" y="969"/>
                  </a:lnTo>
                  <a:lnTo>
                    <a:pt x="1722" y="925"/>
                  </a:lnTo>
                  <a:lnTo>
                    <a:pt x="1822" y="883"/>
                  </a:lnTo>
                  <a:lnTo>
                    <a:pt x="1922" y="845"/>
                  </a:lnTo>
                  <a:lnTo>
                    <a:pt x="2020" y="812"/>
                  </a:lnTo>
                  <a:lnTo>
                    <a:pt x="2117" y="783"/>
                  </a:lnTo>
                  <a:lnTo>
                    <a:pt x="2091" y="704"/>
                  </a:lnTo>
                  <a:lnTo>
                    <a:pt x="2065" y="628"/>
                  </a:lnTo>
                  <a:lnTo>
                    <a:pt x="2037" y="555"/>
                  </a:lnTo>
                  <a:lnTo>
                    <a:pt x="2007" y="488"/>
                  </a:lnTo>
                  <a:lnTo>
                    <a:pt x="1975" y="424"/>
                  </a:lnTo>
                  <a:lnTo>
                    <a:pt x="1954" y="427"/>
                  </a:lnTo>
                  <a:lnTo>
                    <a:pt x="1933" y="430"/>
                  </a:lnTo>
                  <a:lnTo>
                    <a:pt x="1900" y="426"/>
                  </a:lnTo>
                  <a:lnTo>
                    <a:pt x="1869" y="418"/>
                  </a:lnTo>
                  <a:lnTo>
                    <a:pt x="1840" y="404"/>
                  </a:lnTo>
                  <a:lnTo>
                    <a:pt x="1814" y="386"/>
                  </a:lnTo>
                  <a:lnTo>
                    <a:pt x="1792" y="364"/>
                  </a:lnTo>
                  <a:lnTo>
                    <a:pt x="1774" y="338"/>
                  </a:lnTo>
                  <a:lnTo>
                    <a:pt x="1761" y="310"/>
                  </a:lnTo>
                  <a:lnTo>
                    <a:pt x="1752" y="279"/>
                  </a:lnTo>
                  <a:lnTo>
                    <a:pt x="1749" y="246"/>
                  </a:lnTo>
                  <a:lnTo>
                    <a:pt x="1751" y="218"/>
                  </a:lnTo>
                  <a:lnTo>
                    <a:pt x="1757" y="192"/>
                  </a:lnTo>
                  <a:lnTo>
                    <a:pt x="1767" y="168"/>
                  </a:lnTo>
                  <a:lnTo>
                    <a:pt x="1730" y="146"/>
                  </a:lnTo>
                  <a:lnTo>
                    <a:pt x="1694" y="129"/>
                  </a:lnTo>
                  <a:lnTo>
                    <a:pt x="1657" y="121"/>
                  </a:lnTo>
                  <a:lnTo>
                    <a:pt x="1620" y="117"/>
                  </a:lnTo>
                  <a:close/>
                  <a:moveTo>
                    <a:pt x="1620" y="0"/>
                  </a:moveTo>
                  <a:lnTo>
                    <a:pt x="1668" y="3"/>
                  </a:lnTo>
                  <a:lnTo>
                    <a:pt x="1714" y="13"/>
                  </a:lnTo>
                  <a:lnTo>
                    <a:pt x="1760" y="29"/>
                  </a:lnTo>
                  <a:lnTo>
                    <a:pt x="1805" y="53"/>
                  </a:lnTo>
                  <a:lnTo>
                    <a:pt x="1849" y="82"/>
                  </a:lnTo>
                  <a:lnTo>
                    <a:pt x="1876" y="71"/>
                  </a:lnTo>
                  <a:lnTo>
                    <a:pt x="1903" y="64"/>
                  </a:lnTo>
                  <a:lnTo>
                    <a:pt x="1933" y="62"/>
                  </a:lnTo>
                  <a:lnTo>
                    <a:pt x="1966" y="66"/>
                  </a:lnTo>
                  <a:lnTo>
                    <a:pt x="1997" y="74"/>
                  </a:lnTo>
                  <a:lnTo>
                    <a:pt x="2025" y="88"/>
                  </a:lnTo>
                  <a:lnTo>
                    <a:pt x="2051" y="105"/>
                  </a:lnTo>
                  <a:lnTo>
                    <a:pt x="2073" y="127"/>
                  </a:lnTo>
                  <a:lnTo>
                    <a:pt x="2091" y="154"/>
                  </a:lnTo>
                  <a:lnTo>
                    <a:pt x="2105" y="182"/>
                  </a:lnTo>
                  <a:lnTo>
                    <a:pt x="2113" y="213"/>
                  </a:lnTo>
                  <a:lnTo>
                    <a:pt x="2117" y="246"/>
                  </a:lnTo>
                  <a:lnTo>
                    <a:pt x="2113" y="278"/>
                  </a:lnTo>
                  <a:lnTo>
                    <a:pt x="2106" y="309"/>
                  </a:lnTo>
                  <a:lnTo>
                    <a:pt x="2092" y="337"/>
                  </a:lnTo>
                  <a:lnTo>
                    <a:pt x="2075" y="363"/>
                  </a:lnTo>
                  <a:lnTo>
                    <a:pt x="2109" y="431"/>
                  </a:lnTo>
                  <a:lnTo>
                    <a:pt x="2143" y="504"/>
                  </a:lnTo>
                  <a:lnTo>
                    <a:pt x="2174" y="584"/>
                  </a:lnTo>
                  <a:lnTo>
                    <a:pt x="2202" y="666"/>
                  </a:lnTo>
                  <a:lnTo>
                    <a:pt x="2229" y="752"/>
                  </a:lnTo>
                  <a:lnTo>
                    <a:pt x="2300" y="735"/>
                  </a:lnTo>
                  <a:lnTo>
                    <a:pt x="2371" y="722"/>
                  </a:lnTo>
                  <a:lnTo>
                    <a:pt x="2440" y="710"/>
                  </a:lnTo>
                  <a:lnTo>
                    <a:pt x="2518" y="700"/>
                  </a:lnTo>
                  <a:lnTo>
                    <a:pt x="2594" y="694"/>
                  </a:lnTo>
                  <a:lnTo>
                    <a:pt x="2666" y="691"/>
                  </a:lnTo>
                  <a:lnTo>
                    <a:pt x="2734" y="693"/>
                  </a:lnTo>
                  <a:lnTo>
                    <a:pt x="2799" y="697"/>
                  </a:lnTo>
                  <a:lnTo>
                    <a:pt x="2858" y="706"/>
                  </a:lnTo>
                  <a:lnTo>
                    <a:pt x="2914" y="718"/>
                  </a:lnTo>
                  <a:lnTo>
                    <a:pt x="2967" y="733"/>
                  </a:lnTo>
                  <a:lnTo>
                    <a:pt x="3014" y="753"/>
                  </a:lnTo>
                  <a:lnTo>
                    <a:pt x="3058" y="776"/>
                  </a:lnTo>
                  <a:lnTo>
                    <a:pt x="3097" y="803"/>
                  </a:lnTo>
                  <a:lnTo>
                    <a:pt x="3131" y="832"/>
                  </a:lnTo>
                  <a:lnTo>
                    <a:pt x="3161" y="866"/>
                  </a:lnTo>
                  <a:lnTo>
                    <a:pt x="3186" y="904"/>
                  </a:lnTo>
                  <a:lnTo>
                    <a:pt x="3206" y="943"/>
                  </a:lnTo>
                  <a:lnTo>
                    <a:pt x="3220" y="986"/>
                  </a:lnTo>
                  <a:lnTo>
                    <a:pt x="3229" y="1031"/>
                  </a:lnTo>
                  <a:lnTo>
                    <a:pt x="3232" y="1078"/>
                  </a:lnTo>
                  <a:lnTo>
                    <a:pt x="3230" y="1127"/>
                  </a:lnTo>
                  <a:lnTo>
                    <a:pt x="3223" y="1178"/>
                  </a:lnTo>
                  <a:lnTo>
                    <a:pt x="3211" y="1232"/>
                  </a:lnTo>
                  <a:lnTo>
                    <a:pt x="3194" y="1285"/>
                  </a:lnTo>
                  <a:lnTo>
                    <a:pt x="3171" y="1343"/>
                  </a:lnTo>
                  <a:lnTo>
                    <a:pt x="3143" y="1400"/>
                  </a:lnTo>
                  <a:lnTo>
                    <a:pt x="3110" y="1460"/>
                  </a:lnTo>
                  <a:lnTo>
                    <a:pt x="3072" y="1521"/>
                  </a:lnTo>
                  <a:lnTo>
                    <a:pt x="3029" y="1582"/>
                  </a:lnTo>
                  <a:lnTo>
                    <a:pt x="2980" y="1646"/>
                  </a:lnTo>
                  <a:lnTo>
                    <a:pt x="2913" y="1727"/>
                  </a:lnTo>
                  <a:lnTo>
                    <a:pt x="2838" y="1807"/>
                  </a:lnTo>
                  <a:lnTo>
                    <a:pt x="2913" y="1887"/>
                  </a:lnTo>
                  <a:lnTo>
                    <a:pt x="2980" y="1969"/>
                  </a:lnTo>
                  <a:lnTo>
                    <a:pt x="3029" y="2031"/>
                  </a:lnTo>
                  <a:lnTo>
                    <a:pt x="3072" y="2094"/>
                  </a:lnTo>
                  <a:lnTo>
                    <a:pt x="3110" y="2154"/>
                  </a:lnTo>
                  <a:lnTo>
                    <a:pt x="3143" y="2214"/>
                  </a:lnTo>
                  <a:lnTo>
                    <a:pt x="3171" y="2272"/>
                  </a:lnTo>
                  <a:lnTo>
                    <a:pt x="3194" y="2328"/>
                  </a:lnTo>
                  <a:lnTo>
                    <a:pt x="3211" y="2383"/>
                  </a:lnTo>
                  <a:lnTo>
                    <a:pt x="3223" y="2436"/>
                  </a:lnTo>
                  <a:lnTo>
                    <a:pt x="3230" y="2487"/>
                  </a:lnTo>
                  <a:lnTo>
                    <a:pt x="3232" y="2536"/>
                  </a:lnTo>
                  <a:lnTo>
                    <a:pt x="3229" y="2583"/>
                  </a:lnTo>
                  <a:lnTo>
                    <a:pt x="3220" y="2629"/>
                  </a:lnTo>
                  <a:lnTo>
                    <a:pt x="3206" y="2670"/>
                  </a:lnTo>
                  <a:lnTo>
                    <a:pt x="3186" y="2711"/>
                  </a:lnTo>
                  <a:lnTo>
                    <a:pt x="3162" y="2747"/>
                  </a:lnTo>
                  <a:lnTo>
                    <a:pt x="3132" y="2780"/>
                  </a:lnTo>
                  <a:lnTo>
                    <a:pt x="3098" y="2810"/>
                  </a:lnTo>
                  <a:lnTo>
                    <a:pt x="3059" y="2836"/>
                  </a:lnTo>
                  <a:lnTo>
                    <a:pt x="3017" y="2860"/>
                  </a:lnTo>
                  <a:lnTo>
                    <a:pt x="2969" y="2879"/>
                  </a:lnTo>
                  <a:lnTo>
                    <a:pt x="2918" y="2896"/>
                  </a:lnTo>
                  <a:lnTo>
                    <a:pt x="2861" y="2908"/>
                  </a:lnTo>
                  <a:lnTo>
                    <a:pt x="2853" y="2938"/>
                  </a:lnTo>
                  <a:lnTo>
                    <a:pt x="2838" y="2965"/>
                  </a:lnTo>
                  <a:lnTo>
                    <a:pt x="2820" y="2989"/>
                  </a:lnTo>
                  <a:lnTo>
                    <a:pt x="2798" y="3011"/>
                  </a:lnTo>
                  <a:lnTo>
                    <a:pt x="2772" y="3028"/>
                  </a:lnTo>
                  <a:lnTo>
                    <a:pt x="2745" y="3041"/>
                  </a:lnTo>
                  <a:lnTo>
                    <a:pt x="2714" y="3050"/>
                  </a:lnTo>
                  <a:lnTo>
                    <a:pt x="2682" y="3052"/>
                  </a:lnTo>
                  <a:lnTo>
                    <a:pt x="2650" y="3050"/>
                  </a:lnTo>
                  <a:lnTo>
                    <a:pt x="2621" y="3042"/>
                  </a:lnTo>
                  <a:lnTo>
                    <a:pt x="2593" y="3029"/>
                  </a:lnTo>
                  <a:lnTo>
                    <a:pt x="2568" y="3012"/>
                  </a:lnTo>
                  <a:lnTo>
                    <a:pt x="2547" y="2992"/>
                  </a:lnTo>
                  <a:lnTo>
                    <a:pt x="2528" y="2968"/>
                  </a:lnTo>
                  <a:lnTo>
                    <a:pt x="2514" y="2941"/>
                  </a:lnTo>
                  <a:lnTo>
                    <a:pt x="2504" y="2912"/>
                  </a:lnTo>
                  <a:lnTo>
                    <a:pt x="2416" y="2900"/>
                  </a:lnTo>
                  <a:lnTo>
                    <a:pt x="2323" y="2883"/>
                  </a:lnTo>
                  <a:lnTo>
                    <a:pt x="2230" y="2862"/>
                  </a:lnTo>
                  <a:lnTo>
                    <a:pt x="2208" y="2932"/>
                  </a:lnTo>
                  <a:lnTo>
                    <a:pt x="2185" y="2999"/>
                  </a:lnTo>
                  <a:lnTo>
                    <a:pt x="2161" y="3065"/>
                  </a:lnTo>
                  <a:lnTo>
                    <a:pt x="2128" y="3143"/>
                  </a:lnTo>
                  <a:lnTo>
                    <a:pt x="2092" y="3217"/>
                  </a:lnTo>
                  <a:lnTo>
                    <a:pt x="2056" y="3284"/>
                  </a:lnTo>
                  <a:lnTo>
                    <a:pt x="2019" y="3346"/>
                  </a:lnTo>
                  <a:lnTo>
                    <a:pt x="1979" y="3401"/>
                  </a:lnTo>
                  <a:lnTo>
                    <a:pt x="1938" y="3450"/>
                  </a:lnTo>
                  <a:lnTo>
                    <a:pt x="1895" y="3493"/>
                  </a:lnTo>
                  <a:lnTo>
                    <a:pt x="1853" y="3529"/>
                  </a:lnTo>
                  <a:lnTo>
                    <a:pt x="1807" y="3560"/>
                  </a:lnTo>
                  <a:lnTo>
                    <a:pt x="1762" y="3583"/>
                  </a:lnTo>
                  <a:lnTo>
                    <a:pt x="1716" y="3601"/>
                  </a:lnTo>
                  <a:lnTo>
                    <a:pt x="1669" y="3611"/>
                  </a:lnTo>
                  <a:lnTo>
                    <a:pt x="1620" y="3614"/>
                  </a:lnTo>
                  <a:lnTo>
                    <a:pt x="1572" y="3611"/>
                  </a:lnTo>
                  <a:lnTo>
                    <a:pt x="1525" y="3601"/>
                  </a:lnTo>
                  <a:lnTo>
                    <a:pt x="1479" y="3583"/>
                  </a:lnTo>
                  <a:lnTo>
                    <a:pt x="1433" y="3560"/>
                  </a:lnTo>
                  <a:lnTo>
                    <a:pt x="1388" y="3529"/>
                  </a:lnTo>
                  <a:lnTo>
                    <a:pt x="1345" y="3493"/>
                  </a:lnTo>
                  <a:lnTo>
                    <a:pt x="1303" y="3450"/>
                  </a:lnTo>
                  <a:lnTo>
                    <a:pt x="1262" y="3401"/>
                  </a:lnTo>
                  <a:lnTo>
                    <a:pt x="1222" y="3346"/>
                  </a:lnTo>
                  <a:lnTo>
                    <a:pt x="1185" y="3284"/>
                  </a:lnTo>
                  <a:lnTo>
                    <a:pt x="1148" y="3217"/>
                  </a:lnTo>
                  <a:lnTo>
                    <a:pt x="1113" y="3143"/>
                  </a:lnTo>
                  <a:lnTo>
                    <a:pt x="1080" y="3065"/>
                  </a:lnTo>
                  <a:lnTo>
                    <a:pt x="1056" y="2999"/>
                  </a:lnTo>
                  <a:lnTo>
                    <a:pt x="1033" y="2932"/>
                  </a:lnTo>
                  <a:lnTo>
                    <a:pt x="1011" y="2862"/>
                  </a:lnTo>
                  <a:lnTo>
                    <a:pt x="939" y="2878"/>
                  </a:lnTo>
                  <a:lnTo>
                    <a:pt x="870" y="2893"/>
                  </a:lnTo>
                  <a:lnTo>
                    <a:pt x="801" y="2904"/>
                  </a:lnTo>
                  <a:lnTo>
                    <a:pt x="717" y="2915"/>
                  </a:lnTo>
                  <a:lnTo>
                    <a:pt x="637" y="2921"/>
                  </a:lnTo>
                  <a:lnTo>
                    <a:pt x="561" y="2923"/>
                  </a:lnTo>
                  <a:lnTo>
                    <a:pt x="495" y="2921"/>
                  </a:lnTo>
                  <a:lnTo>
                    <a:pt x="432" y="2916"/>
                  </a:lnTo>
                  <a:lnTo>
                    <a:pt x="374" y="2907"/>
                  </a:lnTo>
                  <a:lnTo>
                    <a:pt x="319" y="2895"/>
                  </a:lnTo>
                  <a:lnTo>
                    <a:pt x="268" y="2878"/>
                  </a:lnTo>
                  <a:lnTo>
                    <a:pt x="222" y="2860"/>
                  </a:lnTo>
                  <a:lnTo>
                    <a:pt x="180" y="2836"/>
                  </a:lnTo>
                  <a:lnTo>
                    <a:pt x="142" y="2810"/>
                  </a:lnTo>
                  <a:lnTo>
                    <a:pt x="109" y="2780"/>
                  </a:lnTo>
                  <a:lnTo>
                    <a:pt x="79" y="2747"/>
                  </a:lnTo>
                  <a:lnTo>
                    <a:pt x="55" y="2711"/>
                  </a:lnTo>
                  <a:lnTo>
                    <a:pt x="35" y="2669"/>
                  </a:lnTo>
                  <a:lnTo>
                    <a:pt x="21" y="2625"/>
                  </a:lnTo>
                  <a:lnTo>
                    <a:pt x="12" y="2579"/>
                  </a:lnTo>
                  <a:lnTo>
                    <a:pt x="9" y="2530"/>
                  </a:lnTo>
                  <a:lnTo>
                    <a:pt x="12" y="2478"/>
                  </a:lnTo>
                  <a:lnTo>
                    <a:pt x="20" y="2424"/>
                  </a:lnTo>
                  <a:lnTo>
                    <a:pt x="34" y="2369"/>
                  </a:lnTo>
                  <a:lnTo>
                    <a:pt x="54" y="2311"/>
                  </a:lnTo>
                  <a:lnTo>
                    <a:pt x="35" y="2290"/>
                  </a:lnTo>
                  <a:lnTo>
                    <a:pt x="21" y="2266"/>
                  </a:lnTo>
                  <a:lnTo>
                    <a:pt x="10" y="2239"/>
                  </a:lnTo>
                  <a:lnTo>
                    <a:pt x="3" y="2212"/>
                  </a:lnTo>
                  <a:lnTo>
                    <a:pt x="0" y="2182"/>
                  </a:lnTo>
                  <a:lnTo>
                    <a:pt x="3" y="2149"/>
                  </a:lnTo>
                  <a:lnTo>
                    <a:pt x="12" y="2118"/>
                  </a:lnTo>
                  <a:lnTo>
                    <a:pt x="25" y="2090"/>
                  </a:lnTo>
                  <a:lnTo>
                    <a:pt x="44" y="2063"/>
                  </a:lnTo>
                  <a:lnTo>
                    <a:pt x="66" y="2041"/>
                  </a:lnTo>
                  <a:lnTo>
                    <a:pt x="91" y="2024"/>
                  </a:lnTo>
                  <a:lnTo>
                    <a:pt x="120" y="2010"/>
                  </a:lnTo>
                  <a:lnTo>
                    <a:pt x="151" y="2002"/>
                  </a:lnTo>
                  <a:lnTo>
                    <a:pt x="184" y="1998"/>
                  </a:lnTo>
                  <a:lnTo>
                    <a:pt x="209" y="2000"/>
                  </a:lnTo>
                  <a:lnTo>
                    <a:pt x="232" y="2005"/>
                  </a:lnTo>
                  <a:lnTo>
                    <a:pt x="285" y="1939"/>
                  </a:lnTo>
                  <a:lnTo>
                    <a:pt x="341" y="1874"/>
                  </a:lnTo>
                  <a:lnTo>
                    <a:pt x="403" y="1807"/>
                  </a:lnTo>
                  <a:lnTo>
                    <a:pt x="329" y="1727"/>
                  </a:lnTo>
                  <a:lnTo>
                    <a:pt x="261" y="1646"/>
                  </a:lnTo>
                  <a:lnTo>
                    <a:pt x="212" y="1582"/>
                  </a:lnTo>
                  <a:lnTo>
                    <a:pt x="169" y="1521"/>
                  </a:lnTo>
                  <a:lnTo>
                    <a:pt x="131" y="1460"/>
                  </a:lnTo>
                  <a:lnTo>
                    <a:pt x="98" y="1400"/>
                  </a:lnTo>
                  <a:lnTo>
                    <a:pt x="70" y="1343"/>
                  </a:lnTo>
                  <a:lnTo>
                    <a:pt x="47" y="1285"/>
                  </a:lnTo>
                  <a:lnTo>
                    <a:pt x="30" y="1232"/>
                  </a:lnTo>
                  <a:lnTo>
                    <a:pt x="18" y="1178"/>
                  </a:lnTo>
                  <a:lnTo>
                    <a:pt x="11" y="1127"/>
                  </a:lnTo>
                  <a:lnTo>
                    <a:pt x="9" y="1078"/>
                  </a:lnTo>
                  <a:lnTo>
                    <a:pt x="12" y="1031"/>
                  </a:lnTo>
                  <a:lnTo>
                    <a:pt x="21" y="986"/>
                  </a:lnTo>
                  <a:lnTo>
                    <a:pt x="35" y="943"/>
                  </a:lnTo>
                  <a:lnTo>
                    <a:pt x="55" y="904"/>
                  </a:lnTo>
                  <a:lnTo>
                    <a:pt x="80" y="866"/>
                  </a:lnTo>
                  <a:lnTo>
                    <a:pt x="110" y="832"/>
                  </a:lnTo>
                  <a:lnTo>
                    <a:pt x="144" y="803"/>
                  </a:lnTo>
                  <a:lnTo>
                    <a:pt x="183" y="776"/>
                  </a:lnTo>
                  <a:lnTo>
                    <a:pt x="227" y="753"/>
                  </a:lnTo>
                  <a:lnTo>
                    <a:pt x="274" y="733"/>
                  </a:lnTo>
                  <a:lnTo>
                    <a:pt x="327" y="718"/>
                  </a:lnTo>
                  <a:lnTo>
                    <a:pt x="383" y="706"/>
                  </a:lnTo>
                  <a:lnTo>
                    <a:pt x="442" y="697"/>
                  </a:lnTo>
                  <a:lnTo>
                    <a:pt x="507" y="693"/>
                  </a:lnTo>
                  <a:lnTo>
                    <a:pt x="575" y="691"/>
                  </a:lnTo>
                  <a:lnTo>
                    <a:pt x="647" y="694"/>
                  </a:lnTo>
                  <a:lnTo>
                    <a:pt x="722" y="700"/>
                  </a:lnTo>
                  <a:lnTo>
                    <a:pt x="801" y="710"/>
                  </a:lnTo>
                  <a:lnTo>
                    <a:pt x="870" y="722"/>
                  </a:lnTo>
                  <a:lnTo>
                    <a:pt x="939" y="735"/>
                  </a:lnTo>
                  <a:lnTo>
                    <a:pt x="1011" y="752"/>
                  </a:lnTo>
                  <a:lnTo>
                    <a:pt x="1033" y="683"/>
                  </a:lnTo>
                  <a:lnTo>
                    <a:pt x="1056" y="614"/>
                  </a:lnTo>
                  <a:lnTo>
                    <a:pt x="1080" y="550"/>
                  </a:lnTo>
                  <a:lnTo>
                    <a:pt x="1113" y="470"/>
                  </a:lnTo>
                  <a:lnTo>
                    <a:pt x="1148" y="397"/>
                  </a:lnTo>
                  <a:lnTo>
                    <a:pt x="1185" y="330"/>
                  </a:lnTo>
                  <a:lnTo>
                    <a:pt x="1222" y="268"/>
                  </a:lnTo>
                  <a:lnTo>
                    <a:pt x="1262" y="213"/>
                  </a:lnTo>
                  <a:lnTo>
                    <a:pt x="1303" y="163"/>
                  </a:lnTo>
                  <a:lnTo>
                    <a:pt x="1345" y="121"/>
                  </a:lnTo>
                  <a:lnTo>
                    <a:pt x="1388" y="84"/>
                  </a:lnTo>
                  <a:lnTo>
                    <a:pt x="1433" y="55"/>
                  </a:lnTo>
                  <a:lnTo>
                    <a:pt x="1479" y="30"/>
                  </a:lnTo>
                  <a:lnTo>
                    <a:pt x="1525" y="14"/>
                  </a:lnTo>
                  <a:lnTo>
                    <a:pt x="1572" y="3"/>
                  </a:lnTo>
                  <a:lnTo>
                    <a:pt x="1620" y="0"/>
                  </a:lnTo>
                  <a:close/>
                </a:path>
              </a:pathLst>
            </a:custGeom>
            <a:grpFill/>
            <a:ln w="0">
              <a:noFill/>
              <a:prstDash val="solid"/>
              <a:round/>
              <a:headEnd/>
              <a:tailEnd/>
            </a:ln>
          </p:spPr>
          <p:txBody>
            <a:bodyPr vert="horz" wrap="square" lIns="51435" tIns="25718" rIns="51435" bIns="25718" numCol="1" anchor="t" anchorCtr="0" compatLnSpc="1">
              <a:prstTxWarp prst="textNoShape">
                <a:avLst/>
              </a:prstTxWarp>
            </a:bodyPr>
            <a:lstStyle/>
            <a:p>
              <a:pPr defTabSz="514350" latinLnBrk="0"/>
              <a:endParaRPr lang="en-US" sz="1013">
                <a:solidFill>
                  <a:prstClr val="black"/>
                </a:solidFill>
                <a:latin typeface="Arial" panose="020B0604020202020204" pitchFamily="34" charset="0"/>
                <a:cs typeface="Arial" panose="020B0604020202020204" pitchFamily="34" charset="0"/>
              </a:endParaRPr>
            </a:p>
          </p:txBody>
        </p:sp>
      </p:grpSp>
      <p:grpSp>
        <p:nvGrpSpPr>
          <p:cNvPr id="7" name="Group 6"/>
          <p:cNvGrpSpPr/>
          <p:nvPr/>
        </p:nvGrpSpPr>
        <p:grpSpPr>
          <a:xfrm>
            <a:off x="6509106" y="3099176"/>
            <a:ext cx="5708614" cy="2877711"/>
            <a:chOff x="12532664" y="1380766"/>
            <a:chExt cx="25921249" cy="3621640"/>
          </a:xfrm>
        </p:grpSpPr>
        <p:cxnSp>
          <p:nvCxnSpPr>
            <p:cNvPr id="9" name="Straight Connector 8"/>
            <p:cNvCxnSpPr/>
            <p:nvPr/>
          </p:nvCxnSpPr>
          <p:spPr>
            <a:xfrm flipH="1">
              <a:off x="12532668" y="1955445"/>
              <a:ext cx="13237579" cy="88820"/>
            </a:xfrm>
            <a:prstGeom prst="line">
              <a:avLst/>
            </a:prstGeom>
            <a:ln>
              <a:solidFill>
                <a:schemeClr val="bg1">
                  <a:lumMod val="8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12532664" y="1380766"/>
              <a:ext cx="25921249" cy="3621640"/>
            </a:xfrm>
            <a:prstGeom prst="rect">
              <a:avLst/>
            </a:prstGeom>
          </p:spPr>
          <p:txBody>
            <a:bodyPr wrap="none">
              <a:spAutoFit/>
            </a:bodyPr>
            <a:lstStyle/>
            <a:p>
              <a:pPr defTabSz="514350" latinLnBrk="0"/>
              <a:r>
                <a:rPr lang="en-US" sz="2700" i="1" spc="-169" dirty="0">
                  <a:solidFill>
                    <a:prstClr val="black">
                      <a:lumMod val="65000"/>
                      <a:lumOff val="35000"/>
                    </a:prstClr>
                  </a:solidFill>
                  <a:latin typeface="Trebuchet MS" panose="020B0603020202020204" pitchFamily="34" charset="0"/>
                </a:rPr>
                <a:t>Vision</a:t>
              </a:r>
            </a:p>
            <a:p>
              <a:pPr algn="just" defTabSz="514350" latinLnBrk="0">
                <a:spcBef>
                  <a:spcPts val="563"/>
                </a:spcBef>
              </a:pPr>
              <a:r>
                <a:rPr lang="en-US" sz="1700" i="1" dirty="0">
                  <a:latin typeface="Trebuchet MS" panose="020B0603020202020204" pitchFamily="34" charset="0"/>
                </a:rPr>
                <a:t>By providing desirable fashion apparel for men and </a:t>
              </a:r>
            </a:p>
            <a:p>
              <a:pPr algn="just" defTabSz="514350" latinLnBrk="0">
                <a:spcBef>
                  <a:spcPts val="563"/>
                </a:spcBef>
              </a:pPr>
              <a:r>
                <a:rPr lang="en-US" sz="1700" i="1" dirty="0">
                  <a:latin typeface="Trebuchet MS" panose="020B0603020202020204" pitchFamily="34" charset="0"/>
                </a:rPr>
                <a:t>Women ,quality service by professionally trained team</a:t>
              </a:r>
            </a:p>
            <a:p>
              <a:pPr algn="just" defTabSz="514350" latinLnBrk="0">
                <a:spcBef>
                  <a:spcPts val="563"/>
                </a:spcBef>
              </a:pPr>
              <a:r>
                <a:rPr lang="en-US" sz="1700" i="1" dirty="0">
                  <a:latin typeface="Trebuchet MS" panose="020B0603020202020204" pitchFamily="34" charset="0"/>
                </a:rPr>
                <a:t>members, outstanding value through our strong and</a:t>
              </a:r>
            </a:p>
            <a:p>
              <a:pPr algn="just" defTabSz="514350" latinLnBrk="0">
                <a:spcBef>
                  <a:spcPts val="563"/>
                </a:spcBef>
              </a:pPr>
              <a:r>
                <a:rPr lang="en-US" sz="1700" i="1" dirty="0">
                  <a:latin typeface="Trebuchet MS" panose="020B0603020202020204" pitchFamily="34" charset="0"/>
                </a:rPr>
                <a:t>direct logistic links with manufacturers, and Finally </a:t>
              </a:r>
            </a:p>
            <a:p>
              <a:pPr algn="just" defTabSz="514350" latinLnBrk="0">
                <a:spcBef>
                  <a:spcPts val="563"/>
                </a:spcBef>
              </a:pPr>
              <a:r>
                <a:rPr lang="en-US" sz="1700" i="1" dirty="0">
                  <a:latin typeface="Trebuchet MS" panose="020B0603020202020204" pitchFamily="34" charset="0"/>
                </a:rPr>
                <a:t>convenience through our network of partner retailers</a:t>
              </a:r>
            </a:p>
            <a:p>
              <a:pPr algn="just" defTabSz="514350" latinLnBrk="0">
                <a:spcBef>
                  <a:spcPts val="563"/>
                </a:spcBef>
              </a:pPr>
              <a:r>
                <a:rPr lang="en-US" sz="1700" i="1" dirty="0">
                  <a:latin typeface="Trebuchet MS" panose="020B0603020202020204" pitchFamily="34" charset="0"/>
                </a:rPr>
                <a:t>and wholesalers across the world, our valued customers</a:t>
              </a:r>
            </a:p>
            <a:p>
              <a:pPr algn="just" defTabSz="514350" latinLnBrk="0">
                <a:spcBef>
                  <a:spcPts val="563"/>
                </a:spcBef>
              </a:pPr>
              <a:r>
                <a:rPr lang="en-US" sz="1700" i="1" dirty="0">
                  <a:latin typeface="Trebuchet MS" panose="020B0603020202020204" pitchFamily="34" charset="0"/>
                </a:rPr>
                <a:t>will always be at the heart  of our business.</a:t>
              </a:r>
            </a:p>
          </p:txBody>
        </p:sp>
      </p:grpSp>
      <p:grpSp>
        <p:nvGrpSpPr>
          <p:cNvPr id="3" name="Group 2"/>
          <p:cNvGrpSpPr/>
          <p:nvPr/>
        </p:nvGrpSpPr>
        <p:grpSpPr>
          <a:xfrm>
            <a:off x="622829" y="1248325"/>
            <a:ext cx="5139967" cy="1964676"/>
            <a:chOff x="2883927" y="758919"/>
            <a:chExt cx="2582561" cy="1589364"/>
          </a:xfrm>
        </p:grpSpPr>
        <p:cxnSp>
          <p:nvCxnSpPr>
            <p:cNvPr id="8" name="Straight Connector 7"/>
            <p:cNvCxnSpPr/>
            <p:nvPr/>
          </p:nvCxnSpPr>
          <p:spPr>
            <a:xfrm flipH="1">
              <a:off x="3816668" y="1136016"/>
              <a:ext cx="1627322" cy="0"/>
            </a:xfrm>
            <a:prstGeom prst="line">
              <a:avLst/>
            </a:prstGeom>
            <a:ln>
              <a:solidFill>
                <a:schemeClr val="bg1">
                  <a:lumMod val="8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Subtitle 2"/>
            <p:cNvSpPr txBox="1">
              <a:spLocks/>
            </p:cNvSpPr>
            <p:nvPr/>
          </p:nvSpPr>
          <p:spPr>
            <a:xfrm>
              <a:off x="2883927" y="1350571"/>
              <a:ext cx="2582561" cy="997712"/>
            </a:xfrm>
            <a:prstGeom prst="rect">
              <a:avLst/>
            </a:prstGeom>
            <a:ln>
              <a:no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514350">
                <a:lnSpc>
                  <a:spcPct val="100000"/>
                </a:lnSpc>
                <a:spcBef>
                  <a:spcPts val="563"/>
                </a:spcBef>
                <a:buNone/>
              </a:pPr>
              <a:r>
                <a:rPr lang="en-US" sz="1700" i="1" dirty="0">
                  <a:latin typeface="Trebuchet MS" panose="020B0603020202020204" pitchFamily="34" charset="0"/>
                </a:rPr>
                <a:t>To be the best Apparel sourcing and end-to-end supply chain and logistics solutions for our customers and retailers worldwide with high degree of flexibility and scalability which is unrivaled in our industry</a:t>
              </a:r>
            </a:p>
            <a:p>
              <a:pPr marL="0" indent="0" algn="r" defTabSz="514350">
                <a:lnSpc>
                  <a:spcPct val="100000"/>
                </a:lnSpc>
                <a:spcBef>
                  <a:spcPts val="563"/>
                </a:spcBef>
                <a:buNone/>
              </a:pPr>
              <a:endParaRPr lang="en-US" sz="1800" dirty="0">
                <a:solidFill>
                  <a:prstClr val="black">
                    <a:lumMod val="65000"/>
                    <a:lumOff val="35000"/>
                  </a:prstClr>
                </a:solidFill>
                <a:latin typeface="Calibri" panose="020F0502020204030204"/>
              </a:endParaRPr>
            </a:p>
          </p:txBody>
        </p:sp>
        <p:sp>
          <p:nvSpPr>
            <p:cNvPr id="41" name="Rectangle 40"/>
            <p:cNvSpPr/>
            <p:nvPr/>
          </p:nvSpPr>
          <p:spPr>
            <a:xfrm>
              <a:off x="4793043" y="758919"/>
              <a:ext cx="583579" cy="410820"/>
            </a:xfrm>
            <a:prstGeom prst="rect">
              <a:avLst/>
            </a:prstGeom>
          </p:spPr>
          <p:txBody>
            <a:bodyPr wrap="none">
              <a:spAutoFit/>
            </a:bodyPr>
            <a:lstStyle/>
            <a:p>
              <a:pPr algn="r" defTabSz="514350" latinLnBrk="0"/>
              <a:r>
                <a:rPr lang="en-US" sz="2700" i="1" spc="-169" dirty="0">
                  <a:solidFill>
                    <a:prstClr val="black">
                      <a:lumMod val="65000"/>
                      <a:lumOff val="35000"/>
                    </a:prstClr>
                  </a:solidFill>
                  <a:latin typeface="Trebuchet MS" panose="020B0603020202020204" pitchFamily="34" charset="0"/>
                </a:rPr>
                <a:t>Mission</a:t>
              </a:r>
              <a:endParaRPr lang="en-US" sz="2700" i="1" dirty="0">
                <a:solidFill>
                  <a:prstClr val="black"/>
                </a:solidFill>
                <a:latin typeface="Trebuchet MS" panose="020B0603020202020204" pitchFamily="34" charset="0"/>
              </a:endParaRPr>
            </a:p>
          </p:txBody>
        </p:sp>
      </p:grpSp>
      <p:sp>
        <p:nvSpPr>
          <p:cNvPr id="25" name="Footer Placeholder 24"/>
          <p:cNvSpPr>
            <a:spLocks noGrp="1"/>
          </p:cNvSpPr>
          <p:nvPr>
            <p:ph type="ftr" sz="quarter" idx="11"/>
          </p:nvPr>
        </p:nvSpPr>
        <p:spPr/>
        <p:txBody>
          <a:bodyPr/>
          <a:lstStyle/>
          <a:p>
            <a:r>
              <a:rPr lang="en-US" dirty="0"/>
              <a:t>Apparel Mart-BD</a:t>
            </a:r>
          </a:p>
        </p:txBody>
      </p:sp>
    </p:spTree>
    <p:extLst>
      <p:ext uri="{BB962C8B-B14F-4D97-AF65-F5344CB8AC3E}">
        <p14:creationId xmlns:p14="http://schemas.microsoft.com/office/powerpoint/2010/main" val="198425921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CB15F-8422-4ECC-9F57-D23DAB5EDCA9}"/>
              </a:ext>
            </a:extLst>
          </p:cNvPr>
          <p:cNvSpPr>
            <a:spLocks noGrp="1"/>
          </p:cNvSpPr>
          <p:nvPr>
            <p:ph type="title"/>
          </p:nvPr>
        </p:nvSpPr>
        <p:spPr>
          <a:xfrm>
            <a:off x="960120" y="317814"/>
            <a:ext cx="10268712" cy="1670012"/>
          </a:xfrm>
        </p:spPr>
        <p:txBody>
          <a:bodyPr>
            <a:normAutofit/>
          </a:bodyPr>
          <a:lstStyle/>
          <a:p>
            <a:pPr algn="ctr"/>
            <a:r>
              <a:rPr lang="en-US" sz="4400" b="1" dirty="0">
                <a:latin typeface="Century Gothic" pitchFamily="34" charset="0"/>
              </a:rPr>
              <a:t>ABOUT US </a:t>
            </a:r>
          </a:p>
        </p:txBody>
      </p:sp>
      <p:graphicFrame>
        <p:nvGraphicFramePr>
          <p:cNvPr id="5" name="Content Placeholder 2">
            <a:extLst>
              <a:ext uri="{FF2B5EF4-FFF2-40B4-BE49-F238E27FC236}">
                <a16:creationId xmlns:a16="http://schemas.microsoft.com/office/drawing/2014/main" id="{AC3ACADA-5091-48F5-8DB1-11EFD5736C8F}"/>
              </a:ext>
            </a:extLst>
          </p:cNvPr>
          <p:cNvGraphicFramePr>
            <a:graphicFrameLocks noGrp="1"/>
          </p:cNvGraphicFramePr>
          <p:nvPr>
            <p:ph idx="1"/>
            <p:extLst>
              <p:ext uri="{D42A27DB-BD31-4B8C-83A1-F6EECF244321}">
                <p14:modId xmlns:p14="http://schemas.microsoft.com/office/powerpoint/2010/main" val="3963222708"/>
              </p:ext>
            </p:extLst>
          </p:nvPr>
        </p:nvGraphicFramePr>
        <p:xfrm>
          <a:off x="78751" y="2264989"/>
          <a:ext cx="12031450" cy="45930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Footer Placeholder 8">
            <a:extLst>
              <a:ext uri="{FF2B5EF4-FFF2-40B4-BE49-F238E27FC236}">
                <a16:creationId xmlns:a16="http://schemas.microsoft.com/office/drawing/2014/main" id="{33651BC3-9305-4AE7-9D0A-8D1F7B75C503}"/>
              </a:ext>
            </a:extLst>
          </p:cNvPr>
          <p:cNvSpPr>
            <a:spLocks noGrp="1"/>
          </p:cNvSpPr>
          <p:nvPr>
            <p:ph type="ftr" sz="quarter" idx="11"/>
          </p:nvPr>
        </p:nvSpPr>
        <p:spPr>
          <a:xfrm>
            <a:off x="4038600" y="6400800"/>
            <a:ext cx="4114800" cy="320675"/>
          </a:xfrm>
        </p:spPr>
        <p:txBody>
          <a:bodyPr/>
          <a:lstStyle/>
          <a:p>
            <a:r>
              <a:rPr lang="en-US" dirty="0"/>
              <a:t>Apparel Mart-BD.</a:t>
            </a:r>
          </a:p>
        </p:txBody>
      </p:sp>
    </p:spTree>
    <p:extLst>
      <p:ext uri="{BB962C8B-B14F-4D97-AF65-F5344CB8AC3E}">
        <p14:creationId xmlns:p14="http://schemas.microsoft.com/office/powerpoint/2010/main" val="1503421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D8E33-F56F-453F-8A15-0BF43D757B80}"/>
              </a:ext>
            </a:extLst>
          </p:cNvPr>
          <p:cNvSpPr>
            <a:spLocks noGrp="1"/>
          </p:cNvSpPr>
          <p:nvPr>
            <p:ph type="title"/>
          </p:nvPr>
        </p:nvSpPr>
        <p:spPr/>
        <p:txBody>
          <a:bodyPr>
            <a:normAutofit/>
          </a:bodyPr>
          <a:lstStyle/>
          <a:p>
            <a:pPr algn="ctr"/>
            <a:r>
              <a:rPr lang="en-US" sz="4400" b="1" dirty="0">
                <a:latin typeface="Century Gothic" pitchFamily="34" charset="0"/>
              </a:rPr>
              <a:t>Working Process </a:t>
            </a:r>
          </a:p>
        </p:txBody>
      </p:sp>
      <p:sp>
        <p:nvSpPr>
          <p:cNvPr id="3" name="Content Placeholder 2">
            <a:extLst>
              <a:ext uri="{FF2B5EF4-FFF2-40B4-BE49-F238E27FC236}">
                <a16:creationId xmlns:a16="http://schemas.microsoft.com/office/drawing/2014/main" id="{67AE8D1E-0A8F-4552-A35F-DCB64D4B9289}"/>
              </a:ext>
            </a:extLst>
          </p:cNvPr>
          <p:cNvSpPr>
            <a:spLocks noGrp="1"/>
          </p:cNvSpPr>
          <p:nvPr>
            <p:ph idx="1"/>
          </p:nvPr>
        </p:nvSpPr>
        <p:spPr>
          <a:xfrm>
            <a:off x="124371" y="1949572"/>
            <a:ext cx="11940209" cy="4339086"/>
          </a:xfrm>
        </p:spPr>
        <p:txBody>
          <a:bodyPr>
            <a:normAutofit/>
          </a:bodyPr>
          <a:lstStyle/>
          <a:p>
            <a:pPr marL="457200" indent="-457200" algn="just">
              <a:buFont typeface="Wingdings" panose="05000000000000000000" pitchFamily="2" charset="2"/>
              <a:buChar char="v"/>
            </a:pPr>
            <a:r>
              <a:rPr lang="en-US" sz="2200" dirty="0">
                <a:latin typeface="Century Gothic" pitchFamily="34" charset="0"/>
              </a:rPr>
              <a:t>Our working process starts, requesting you to send some samples (pdf / picture) of the products you want to my email address (which contains the specifications and composition of the materials used in your manufacture) or send us directly real work samples of your clothing products to our main office in Bangladesh.</a:t>
            </a:r>
          </a:p>
          <a:p>
            <a:pPr marL="457200" indent="-457200" algn="just">
              <a:buFont typeface="Wingdings" panose="05000000000000000000" pitchFamily="2" charset="2"/>
              <a:buChar char="v"/>
            </a:pPr>
            <a:r>
              <a:rPr lang="en-US" sz="2200" dirty="0">
                <a:latin typeface="Century Gothic" pitchFamily="34" charset="0"/>
              </a:rPr>
              <a:t>In order to prove our quality, we will manufacture your samples and send them to your address. We guarantee the shipment of your orders to any part of the World.</a:t>
            </a:r>
          </a:p>
          <a:p>
            <a:pPr marL="457200" indent="-457200" algn="just">
              <a:buFont typeface="Wingdings" panose="05000000000000000000" pitchFamily="2" charset="2"/>
              <a:buChar char="v"/>
            </a:pPr>
            <a:r>
              <a:rPr lang="en-US" sz="2200" dirty="0">
                <a:latin typeface="Century Gothic" pitchFamily="34" charset="0"/>
              </a:rPr>
              <a:t>We work with the right people, from the necessary departments, during the entire process. Our company is specialized in terms of planning, supply chain - trimmings and accessories, manufacture, quality verification through post-production inspections, merchandising, punctual deliveries and exceptional customer service.</a:t>
            </a:r>
          </a:p>
          <a:p>
            <a:endParaRPr lang="en-US" dirty="0"/>
          </a:p>
        </p:txBody>
      </p:sp>
      <p:sp>
        <p:nvSpPr>
          <p:cNvPr id="4" name="Footer Placeholder 8">
            <a:extLst>
              <a:ext uri="{FF2B5EF4-FFF2-40B4-BE49-F238E27FC236}">
                <a16:creationId xmlns:a16="http://schemas.microsoft.com/office/drawing/2014/main" id="{F81789E2-1E7F-43BD-BD19-79BAA88A057E}"/>
              </a:ext>
            </a:extLst>
          </p:cNvPr>
          <p:cNvSpPr>
            <a:spLocks noGrp="1"/>
          </p:cNvSpPr>
          <p:nvPr>
            <p:ph type="ftr" sz="quarter" idx="11"/>
          </p:nvPr>
        </p:nvSpPr>
        <p:spPr>
          <a:xfrm>
            <a:off x="4038600" y="6356350"/>
            <a:ext cx="4114800" cy="365125"/>
          </a:xfrm>
        </p:spPr>
        <p:txBody>
          <a:bodyPr/>
          <a:lstStyle/>
          <a:p>
            <a:r>
              <a:rPr lang="en-US" dirty="0"/>
              <a:t>Apparel Mart-BD.</a:t>
            </a:r>
          </a:p>
        </p:txBody>
      </p:sp>
    </p:spTree>
    <p:extLst>
      <p:ext uri="{BB962C8B-B14F-4D97-AF65-F5344CB8AC3E}">
        <p14:creationId xmlns:p14="http://schemas.microsoft.com/office/powerpoint/2010/main" val="1379547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759AFD-1C23-4C9A-9F34-16C9A2762567}"/>
              </a:ext>
            </a:extLst>
          </p:cNvPr>
          <p:cNvSpPr>
            <a:spLocks noGrp="1"/>
          </p:cNvSpPr>
          <p:nvPr>
            <p:ph type="title"/>
          </p:nvPr>
        </p:nvSpPr>
        <p:spPr>
          <a:xfrm>
            <a:off x="873856" y="317814"/>
            <a:ext cx="10268712" cy="1524238"/>
          </a:xfrm>
        </p:spPr>
        <p:txBody>
          <a:bodyPr>
            <a:normAutofit/>
          </a:bodyPr>
          <a:lstStyle/>
          <a:p>
            <a:pPr algn="ctr"/>
            <a:r>
              <a:rPr lang="en-US" sz="4400" b="1" dirty="0">
                <a:latin typeface="Century Gothic" pitchFamily="34" charset="0"/>
              </a:rPr>
              <a:t>Types of products we can supply</a:t>
            </a:r>
          </a:p>
        </p:txBody>
      </p:sp>
      <p:sp>
        <p:nvSpPr>
          <p:cNvPr id="3" name="Marcador de Posição de Conteúdo 2">
            <a:extLst>
              <a:ext uri="{FF2B5EF4-FFF2-40B4-BE49-F238E27FC236}">
                <a16:creationId xmlns:a16="http://schemas.microsoft.com/office/drawing/2014/main" id="{7A677B27-EE5A-4151-89EB-6D5E522BBA45}"/>
              </a:ext>
            </a:extLst>
          </p:cNvPr>
          <p:cNvSpPr>
            <a:spLocks noGrp="1"/>
          </p:cNvSpPr>
          <p:nvPr>
            <p:ph idx="1"/>
          </p:nvPr>
        </p:nvSpPr>
        <p:spPr>
          <a:xfrm>
            <a:off x="210245" y="2130725"/>
            <a:ext cx="11768461" cy="4063041"/>
          </a:xfrm>
        </p:spPr>
        <p:txBody>
          <a:bodyPr>
            <a:noAutofit/>
          </a:bodyPr>
          <a:lstStyle/>
          <a:p>
            <a:pPr marL="457200" indent="-457200" algn="just">
              <a:buFont typeface="Wingdings" panose="05000000000000000000" pitchFamily="2" charset="2"/>
              <a:buChar char="v"/>
            </a:pPr>
            <a:r>
              <a:rPr lang="en-GB" sz="2400" dirty="0">
                <a:latin typeface="Century Gothic" pitchFamily="34" charset="0"/>
              </a:rPr>
              <a:t>We can supply any type of clothing/other products, using different manufacturing methods. Such as - Knit, Sweater &amp; Woven; </a:t>
            </a:r>
            <a:r>
              <a:rPr lang="en-US" sz="2400" dirty="0">
                <a:latin typeface="Century Gothic" pitchFamily="34" charset="0"/>
              </a:rPr>
              <a:t>according to your requirements.</a:t>
            </a:r>
          </a:p>
          <a:p>
            <a:pPr marL="457200" indent="-457200" algn="just">
              <a:buFont typeface="Wingdings" panose="05000000000000000000" pitchFamily="2" charset="2"/>
              <a:buChar char="v"/>
            </a:pPr>
            <a:r>
              <a:rPr lang="en-GB" sz="2400" dirty="0">
                <a:latin typeface="Century Gothic" pitchFamily="34" charset="0"/>
              </a:rPr>
              <a:t>We can provide clothes for women’s, men’s and children’s. </a:t>
            </a:r>
          </a:p>
          <a:p>
            <a:pPr marL="457200" indent="-457200" algn="just">
              <a:buFont typeface="Wingdings" panose="05000000000000000000" pitchFamily="2" charset="2"/>
              <a:buChar char="v"/>
            </a:pPr>
            <a:r>
              <a:rPr lang="en-US" sz="2400" dirty="0">
                <a:latin typeface="Century Gothic" pitchFamily="34" charset="0"/>
              </a:rPr>
              <a:t>Types of products we supply -</a:t>
            </a:r>
          </a:p>
          <a:p>
            <a:pPr algn="just">
              <a:buNone/>
            </a:pPr>
            <a:r>
              <a:rPr lang="en-US" sz="2400" dirty="0">
                <a:latin typeface="Century Gothic" pitchFamily="34" charset="0"/>
              </a:rPr>
              <a:t>     	</a:t>
            </a:r>
            <a:r>
              <a:rPr lang="en-US" sz="2400" b="1" dirty="0">
                <a:latin typeface="Century Gothic" pitchFamily="34" charset="0"/>
              </a:rPr>
              <a:t>Hoodies; Jackets; Coats; Elegant Suits; Dresses; Trousers; Shorts; Denim;  Leggings; Polo-Shirts; Woven formal Shirts; T-Shirts; Activewear; Knitted Caps; Lingerie's; Underwear; Socks; Beachwear; Pajamas; Sweaters; Pull-Over’s; Towels; Bed sheets; Home &amp; Decor; Others.</a:t>
            </a:r>
          </a:p>
        </p:txBody>
      </p:sp>
      <p:sp>
        <p:nvSpPr>
          <p:cNvPr id="4" name="Footer Placeholder 8">
            <a:extLst>
              <a:ext uri="{FF2B5EF4-FFF2-40B4-BE49-F238E27FC236}">
                <a16:creationId xmlns:a16="http://schemas.microsoft.com/office/drawing/2014/main" id="{0FA1319D-0AC5-46B5-A04F-898870A46517}"/>
              </a:ext>
            </a:extLst>
          </p:cNvPr>
          <p:cNvSpPr>
            <a:spLocks noGrp="1"/>
          </p:cNvSpPr>
          <p:nvPr>
            <p:ph type="ftr" sz="quarter" idx="11"/>
          </p:nvPr>
        </p:nvSpPr>
        <p:spPr>
          <a:xfrm>
            <a:off x="4038600" y="6356350"/>
            <a:ext cx="4114800" cy="365125"/>
          </a:xfrm>
        </p:spPr>
        <p:txBody>
          <a:bodyPr/>
          <a:lstStyle/>
          <a:p>
            <a:r>
              <a:rPr lang="en-US" dirty="0"/>
              <a:t>Apparel Mart-BD.</a:t>
            </a:r>
          </a:p>
        </p:txBody>
      </p:sp>
    </p:spTree>
    <p:extLst>
      <p:ext uri="{BB962C8B-B14F-4D97-AF65-F5344CB8AC3E}">
        <p14:creationId xmlns:p14="http://schemas.microsoft.com/office/powerpoint/2010/main" val="6040895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4EDC6-6E42-4507-8515-8AE208554794}"/>
              </a:ext>
            </a:extLst>
          </p:cNvPr>
          <p:cNvSpPr>
            <a:spLocks noGrp="1"/>
          </p:cNvSpPr>
          <p:nvPr>
            <p:ph type="title"/>
          </p:nvPr>
        </p:nvSpPr>
        <p:spPr>
          <a:xfrm>
            <a:off x="609600" y="414068"/>
            <a:ext cx="10972800" cy="1003570"/>
          </a:xfrm>
        </p:spPr>
        <p:txBody>
          <a:bodyPr>
            <a:normAutofit/>
          </a:bodyPr>
          <a:lstStyle/>
          <a:p>
            <a:pPr algn="ctr"/>
            <a:r>
              <a:rPr lang="en-US" sz="4400" b="1" dirty="0">
                <a:latin typeface="Century Gothic" pitchFamily="34" charset="0"/>
              </a:rPr>
              <a:t>INFORMATION OF OUR COMPANY</a:t>
            </a:r>
          </a:p>
        </p:txBody>
      </p:sp>
      <p:sp>
        <p:nvSpPr>
          <p:cNvPr id="3" name="Content Placeholder 2">
            <a:extLst>
              <a:ext uri="{FF2B5EF4-FFF2-40B4-BE49-F238E27FC236}">
                <a16:creationId xmlns:a16="http://schemas.microsoft.com/office/drawing/2014/main" id="{2E429897-0CC9-4A9B-8C4B-67BCBFE9490D}"/>
              </a:ext>
            </a:extLst>
          </p:cNvPr>
          <p:cNvSpPr>
            <a:spLocks noGrp="1"/>
          </p:cNvSpPr>
          <p:nvPr>
            <p:ph idx="1"/>
          </p:nvPr>
        </p:nvSpPr>
        <p:spPr>
          <a:xfrm>
            <a:off x="270452" y="1524001"/>
            <a:ext cx="11648048" cy="4687018"/>
          </a:xfrm>
        </p:spPr>
        <p:txBody>
          <a:bodyPr>
            <a:normAutofit fontScale="92500" lnSpcReduction="10000"/>
          </a:bodyPr>
          <a:lstStyle/>
          <a:p>
            <a:pPr marL="457200" indent="-457200">
              <a:buFont typeface="Wingdings" panose="05000000000000000000" pitchFamily="2" charset="2"/>
              <a:buChar char="v"/>
            </a:pPr>
            <a:r>
              <a:rPr lang="en-US" sz="2000" b="1" dirty="0">
                <a:latin typeface="Century Gothic" pitchFamily="34" charset="0"/>
              </a:rPr>
              <a:t>Name of the Company: “Apparel </a:t>
            </a:r>
            <a:r>
              <a:rPr lang="en-US" sz="2000" b="1" dirty="0" smtClean="0">
                <a:latin typeface="Century Gothic" pitchFamily="34" charset="0"/>
              </a:rPr>
              <a:t>Mart BD</a:t>
            </a:r>
            <a:r>
              <a:rPr lang="en-US" sz="2000" b="1" dirty="0">
                <a:latin typeface="Century Gothic" pitchFamily="34" charset="0"/>
              </a:rPr>
              <a:t>.’’</a:t>
            </a:r>
            <a:endParaRPr lang="en-US" sz="2000" dirty="0">
              <a:latin typeface="Century Gothic" pitchFamily="34" charset="0"/>
            </a:endParaRPr>
          </a:p>
          <a:p>
            <a:pPr marL="457200" indent="-457200">
              <a:buFont typeface="Wingdings" panose="05000000000000000000" pitchFamily="2" charset="2"/>
              <a:buChar char="v"/>
            </a:pPr>
            <a:r>
              <a:rPr lang="en-US" sz="2000" b="1" dirty="0">
                <a:latin typeface="Century Gothic" pitchFamily="34" charset="0"/>
              </a:rPr>
              <a:t>Address: House </a:t>
            </a:r>
            <a:r>
              <a:rPr lang="en-US" sz="2000" b="1" dirty="0" smtClean="0">
                <a:latin typeface="Century Gothic" pitchFamily="34" charset="0"/>
              </a:rPr>
              <a:t>Name:</a:t>
            </a:r>
            <a:r>
              <a:rPr lang="en-US" sz="2000" dirty="0" smtClean="0">
                <a:latin typeface="Century Gothic" pitchFamily="34" charset="0"/>
              </a:rPr>
              <a:t>Avenue#03,Road no:05,House </a:t>
            </a:r>
            <a:r>
              <a:rPr lang="en-US" sz="2000" dirty="0">
                <a:latin typeface="Century Gothic" pitchFamily="34" charset="0"/>
              </a:rPr>
              <a:t>no: </a:t>
            </a:r>
            <a:r>
              <a:rPr lang="en-US" sz="2000" dirty="0" smtClean="0">
                <a:latin typeface="Century Gothic" pitchFamily="34" charset="0"/>
              </a:rPr>
              <a:t>333,DOHS Mirpur,Dhaka-1216,Bangaldesh</a:t>
            </a:r>
            <a:r>
              <a:rPr lang="en-US" sz="2000" dirty="0">
                <a:latin typeface="Century Gothic" pitchFamily="34" charset="0"/>
              </a:rPr>
              <a:t>. </a:t>
            </a:r>
          </a:p>
          <a:p>
            <a:pPr marL="457200" indent="-457200">
              <a:buFont typeface="Wingdings" panose="05000000000000000000" pitchFamily="2" charset="2"/>
              <a:buChar char="v"/>
            </a:pPr>
            <a:r>
              <a:rPr lang="en-US" altLang="en-US" sz="2000" b="1" dirty="0">
                <a:latin typeface="Century Gothic" pitchFamily="34" charset="0"/>
              </a:rPr>
              <a:t>Register Number</a:t>
            </a:r>
            <a:r>
              <a:rPr lang="en-US" sz="2000" b="1" dirty="0">
                <a:latin typeface="Century Gothic" pitchFamily="34" charset="0"/>
              </a:rPr>
              <a:t>: TRD/DSCC/033766/2021</a:t>
            </a:r>
            <a:endParaRPr lang="en-US" sz="2000" dirty="0">
              <a:latin typeface="Century Gothic" pitchFamily="34" charset="0"/>
            </a:endParaRPr>
          </a:p>
          <a:p>
            <a:pPr marL="457200" indent="-457200">
              <a:buFont typeface="Wingdings" panose="05000000000000000000" pitchFamily="2" charset="2"/>
              <a:buChar char="v"/>
            </a:pPr>
            <a:r>
              <a:rPr lang="en-US" sz="2000" b="1" dirty="0">
                <a:latin typeface="Century Gothic" pitchFamily="34" charset="0"/>
              </a:rPr>
              <a:t>ETIN No: 891341346535</a:t>
            </a:r>
          </a:p>
          <a:p>
            <a:pPr marL="457200" indent="-457200">
              <a:buFont typeface="Wingdings" panose="05000000000000000000" pitchFamily="2" charset="2"/>
              <a:buChar char="v"/>
            </a:pPr>
            <a:r>
              <a:rPr lang="en-US" sz="2000" b="1" dirty="0">
                <a:latin typeface="Century Gothic" pitchFamily="34" charset="0"/>
              </a:rPr>
              <a:t>BIN No: </a:t>
            </a:r>
            <a:r>
              <a:rPr lang="en-US" sz="2000" b="1" dirty="0" smtClean="0">
                <a:effectLst/>
                <a:latin typeface="Arial" panose="020B0604020202020204" pitchFamily="34" charset="0"/>
                <a:ea typeface="Times New Roman" panose="02020603050405020304" pitchFamily="18" charset="0"/>
              </a:rPr>
              <a:t>004550132-0202</a:t>
            </a:r>
          </a:p>
          <a:p>
            <a:pPr marL="457200" indent="-457200">
              <a:buFont typeface="Wingdings" panose="05000000000000000000" pitchFamily="2" charset="2"/>
              <a:buChar char="v"/>
            </a:pPr>
            <a:r>
              <a:rPr lang="en-US" sz="2400" b="1" dirty="0" smtClean="0">
                <a:latin typeface="Century Gothic" pitchFamily="34" charset="0"/>
              </a:rPr>
              <a:t>BANGLADESH GARMENT BUYING HOUSE ASS.(BGBA): </a:t>
            </a:r>
            <a:r>
              <a:rPr lang="en-US" sz="2400" b="1" dirty="0" smtClean="0">
                <a:solidFill>
                  <a:schemeClr val="accent4"/>
                </a:solidFill>
                <a:latin typeface="Century Gothic" pitchFamily="34" charset="0"/>
              </a:rPr>
              <a:t>B-01706</a:t>
            </a:r>
          </a:p>
          <a:p>
            <a:pPr marL="457200" indent="-457200">
              <a:buFont typeface="Wingdings" panose="05000000000000000000" pitchFamily="2" charset="2"/>
              <a:buChar char="v"/>
            </a:pPr>
            <a:r>
              <a:rPr lang="en-US" sz="2400" b="1" dirty="0" smtClean="0">
                <a:latin typeface="Century Gothic" pitchFamily="34" charset="0"/>
              </a:rPr>
              <a:t>GOVT. OF THE PEOPLES REPUBLIC OF BANGLADESH(DOT): </a:t>
            </a:r>
            <a:r>
              <a:rPr lang="en-US" sz="2400" b="1" dirty="0" smtClean="0">
                <a:solidFill>
                  <a:schemeClr val="accent4"/>
                </a:solidFill>
                <a:latin typeface="Century Gothic" pitchFamily="34" charset="0"/>
              </a:rPr>
              <a:t>DOT/BH/EXPL-1414</a:t>
            </a:r>
            <a:r>
              <a:rPr lang="en-US" sz="2400" b="1" dirty="0" smtClean="0">
                <a:solidFill>
                  <a:schemeClr val="accent4"/>
                </a:solidFill>
                <a:latin typeface="Century Gothic" pitchFamily="34" charset="0"/>
              </a:rPr>
              <a:t> </a:t>
            </a:r>
            <a:endParaRPr lang="en-US" sz="2400" b="1" dirty="0">
              <a:solidFill>
                <a:schemeClr val="accent4"/>
              </a:solidFill>
              <a:latin typeface="Century Gothic" pitchFamily="34" charset="0"/>
            </a:endParaRPr>
          </a:p>
          <a:p>
            <a:pPr marL="457200" indent="-457200">
              <a:buFont typeface="Wingdings" panose="05000000000000000000" pitchFamily="2" charset="2"/>
              <a:buChar char="v"/>
            </a:pPr>
            <a:r>
              <a:rPr lang="en-US" sz="2000" b="1" dirty="0">
                <a:latin typeface="Century Gothic" pitchFamily="34" charset="0"/>
              </a:rPr>
              <a:t>Bank: </a:t>
            </a:r>
            <a:r>
              <a:rPr lang="en-US" sz="2000" b="1" dirty="0" smtClean="0">
                <a:latin typeface="Century Gothic" pitchFamily="34" charset="0"/>
              </a:rPr>
              <a:t>BASIC BANK LTD( </a:t>
            </a:r>
            <a:r>
              <a:rPr lang="en-US" sz="2000" b="1" dirty="0">
                <a:latin typeface="Century Gothic" pitchFamily="34" charset="0"/>
              </a:rPr>
              <a:t>ACC: </a:t>
            </a:r>
            <a:r>
              <a:rPr lang="en-US" sz="2000" b="1" dirty="0" smtClean="0">
                <a:latin typeface="Century Gothic" pitchFamily="34" charset="0"/>
              </a:rPr>
              <a:t>2210010007050),BSCIC ELECTRIC COMPLEX, MIRPUR BRANCH,Dhaka-1221,Bangladesh</a:t>
            </a:r>
            <a:r>
              <a:rPr lang="en-US" sz="2000" b="1" dirty="0">
                <a:latin typeface="Century Gothic" pitchFamily="34" charset="0"/>
              </a:rPr>
              <a:t>. </a:t>
            </a:r>
            <a:r>
              <a:rPr lang="en-US" sz="2000" b="1" dirty="0" smtClean="0">
                <a:solidFill>
                  <a:schemeClr val="accent4"/>
                </a:solidFill>
                <a:latin typeface="Century Gothic" pitchFamily="34" charset="0"/>
              </a:rPr>
              <a:t>(SWIFT:BKSIBDDH022). </a:t>
            </a:r>
            <a:endParaRPr lang="en-US" sz="2000" b="1" dirty="0">
              <a:solidFill>
                <a:schemeClr val="accent4"/>
              </a:solidFill>
              <a:latin typeface="Century Gothic" pitchFamily="34" charset="0"/>
            </a:endParaRPr>
          </a:p>
          <a:p>
            <a:pPr marL="457200" indent="-457200">
              <a:buFont typeface="Wingdings" panose="05000000000000000000" pitchFamily="2" charset="2"/>
              <a:buChar char="v"/>
            </a:pPr>
            <a:r>
              <a:rPr lang="en-US" sz="2000" b="1" dirty="0">
                <a:latin typeface="Century Gothic" pitchFamily="34" charset="0"/>
              </a:rPr>
              <a:t>General email</a:t>
            </a:r>
            <a:r>
              <a:rPr lang="en-US" sz="2000" dirty="0">
                <a:latin typeface="Century Gothic" pitchFamily="34" charset="0"/>
              </a:rPr>
              <a:t>: </a:t>
            </a:r>
            <a:r>
              <a:rPr lang="en-US" sz="2000" dirty="0">
                <a:solidFill>
                  <a:schemeClr val="tx2"/>
                </a:solidFill>
                <a:latin typeface="Century Gothic" pitchFamily="34" charset="0"/>
                <a:hlinkClick r:id="rId2"/>
              </a:rPr>
              <a:t>murad@apparelmart-bd.com</a:t>
            </a:r>
            <a:endParaRPr lang="en-US" sz="2000" dirty="0">
              <a:solidFill>
                <a:schemeClr val="tx2"/>
              </a:solidFill>
              <a:latin typeface="Century Gothic" pitchFamily="34" charset="0"/>
            </a:endParaRPr>
          </a:p>
          <a:p>
            <a:pPr marL="457200" indent="-457200">
              <a:buFont typeface="Wingdings" panose="05000000000000000000" pitchFamily="2" charset="2"/>
              <a:buChar char="v"/>
            </a:pPr>
            <a:r>
              <a:rPr lang="en-US" sz="2000" dirty="0">
                <a:solidFill>
                  <a:schemeClr val="tx2"/>
                </a:solidFill>
                <a:latin typeface="Century Gothic" pitchFamily="34" charset="0"/>
                <a:hlinkClick r:id="rId3"/>
              </a:rPr>
              <a:t>info@apparelmart-bd.com</a:t>
            </a:r>
            <a:endParaRPr lang="en-US" sz="2000" dirty="0">
              <a:solidFill>
                <a:schemeClr val="tx2"/>
              </a:solidFill>
              <a:latin typeface="Century Gothic" pitchFamily="34" charset="0"/>
            </a:endParaRPr>
          </a:p>
          <a:p>
            <a:pPr marL="457200" indent="-457200" fontAlgn="base">
              <a:buFont typeface="Wingdings" panose="05000000000000000000" pitchFamily="2" charset="2"/>
              <a:buChar char="v"/>
            </a:pPr>
            <a:r>
              <a:rPr lang="en-US" sz="2000" b="1" dirty="0">
                <a:latin typeface="Century Gothic" pitchFamily="34" charset="0"/>
              </a:rPr>
              <a:t>Website: </a:t>
            </a:r>
            <a:r>
              <a:rPr lang="en-US" sz="2000" b="1" dirty="0">
                <a:solidFill>
                  <a:srgbClr val="0070C0"/>
                </a:solidFill>
                <a:latin typeface="Century Gothic" pitchFamily="34" charset="0"/>
                <a:hlinkClick r:id="rId4"/>
              </a:rPr>
              <a:t>www.apparelmart-bd.com</a:t>
            </a:r>
            <a:endParaRPr lang="en-US" sz="2000" b="1" dirty="0">
              <a:solidFill>
                <a:srgbClr val="0070C0"/>
              </a:solidFill>
              <a:latin typeface="Century Gothic" pitchFamily="34" charset="0"/>
            </a:endParaRPr>
          </a:p>
          <a:p>
            <a:pPr marL="0" indent="0" fontAlgn="base">
              <a:buNone/>
            </a:pPr>
            <a:endParaRPr lang="pt-PT" altLang="en-US" sz="2000" dirty="0">
              <a:latin typeface="Century Gothic" pitchFamily="34" charset="0"/>
            </a:endParaRPr>
          </a:p>
          <a:p>
            <a:pPr marL="457200" indent="-457200" fontAlgn="base">
              <a:buNone/>
            </a:pPr>
            <a:endParaRPr lang="en-US" sz="2000" dirty="0">
              <a:solidFill>
                <a:srgbClr val="4AAEFF"/>
              </a:solidFill>
              <a:latin typeface="Century Gothic" pitchFamily="34" charset="0"/>
            </a:endParaRPr>
          </a:p>
          <a:p>
            <a:pPr marL="457200" indent="-457200" fontAlgn="base">
              <a:buFont typeface="Wingdings" panose="05000000000000000000" pitchFamily="2" charset="2"/>
              <a:buChar char="v"/>
            </a:pPr>
            <a:endParaRPr lang="en-US" sz="2000" dirty="0">
              <a:solidFill>
                <a:srgbClr val="4AAEFF"/>
              </a:solidFill>
              <a:latin typeface="Century Gothic" pitchFamily="34" charset="0"/>
            </a:endParaRPr>
          </a:p>
          <a:p>
            <a:pPr fontAlgn="base"/>
            <a:endParaRPr lang="en-US" sz="2000" dirty="0">
              <a:latin typeface="Century Gothic" pitchFamily="34" charset="0"/>
            </a:endParaRPr>
          </a:p>
          <a:p>
            <a:pPr>
              <a:buNone/>
            </a:pPr>
            <a:endParaRPr lang="en-US" dirty="0"/>
          </a:p>
        </p:txBody>
      </p:sp>
      <p:sp>
        <p:nvSpPr>
          <p:cNvPr id="4" name="Footer Placeholder 8">
            <a:extLst>
              <a:ext uri="{FF2B5EF4-FFF2-40B4-BE49-F238E27FC236}">
                <a16:creationId xmlns:a16="http://schemas.microsoft.com/office/drawing/2014/main" id="{1CF4709C-5A8D-45BB-A368-9EB2E5FCEB44}"/>
              </a:ext>
            </a:extLst>
          </p:cNvPr>
          <p:cNvSpPr>
            <a:spLocks noGrp="1"/>
          </p:cNvSpPr>
          <p:nvPr>
            <p:ph type="ftr" sz="quarter" idx="11"/>
          </p:nvPr>
        </p:nvSpPr>
        <p:spPr>
          <a:xfrm>
            <a:off x="4038600" y="6356350"/>
            <a:ext cx="4114800" cy="365125"/>
          </a:xfrm>
        </p:spPr>
        <p:txBody>
          <a:bodyPr/>
          <a:lstStyle/>
          <a:p>
            <a:r>
              <a:rPr lang="en-US" dirty="0"/>
              <a:t>Apparel Mart-BD.</a:t>
            </a:r>
          </a:p>
        </p:txBody>
      </p:sp>
    </p:spTree>
    <p:extLst>
      <p:ext uri="{BB962C8B-B14F-4D97-AF65-F5344CB8AC3E}">
        <p14:creationId xmlns:p14="http://schemas.microsoft.com/office/powerpoint/2010/main" val="15196988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70000"/>
                    </a14:imgEffect>
                  </a14:imgLayer>
                </a14:imgProps>
              </a:ext>
              <a:ext uri="{28A0092B-C50C-407E-A947-70E740481C1C}">
                <a14:useLocalDpi xmlns:a14="http://schemas.microsoft.com/office/drawing/2010/main" val="0"/>
              </a:ext>
            </a:extLst>
          </a:blip>
          <a:srcRect l="21278" r="33931"/>
          <a:stretch/>
        </p:blipFill>
        <p:spPr>
          <a:xfrm>
            <a:off x="5604283" y="0"/>
            <a:ext cx="6672064" cy="6885384"/>
          </a:xfrm>
          <a:prstGeom prst="rect">
            <a:avLst/>
          </a:prstGeom>
        </p:spPr>
      </p:pic>
      <p:sp>
        <p:nvSpPr>
          <p:cNvPr id="4" name="Rectangle 3"/>
          <p:cNvSpPr/>
          <p:nvPr/>
        </p:nvSpPr>
        <p:spPr>
          <a:xfrm flipH="1">
            <a:off x="6320878" y="158595"/>
            <a:ext cx="5238874" cy="559833"/>
          </a:xfrm>
          <a:prstGeom prst="rect">
            <a:avLst/>
          </a:prstGeom>
          <a:noFill/>
        </p:spPr>
        <p:txBody>
          <a:bodyPr wrap="square">
            <a:spAutoFit/>
          </a:bodyPr>
          <a:lstStyle/>
          <a:p>
            <a:pPr algn="ctr" defTabSz="514350" latinLnBrk="0"/>
            <a:r>
              <a:rPr lang="en-US" sz="3038" spc="-169" dirty="0">
                <a:solidFill>
                  <a:srgbClr val="ED7D31"/>
                </a:solidFill>
                <a:latin typeface="Calibri" panose="020F0502020204030204"/>
              </a:rPr>
              <a:t>Company Overview</a:t>
            </a:r>
          </a:p>
        </p:txBody>
      </p:sp>
      <p:sp>
        <p:nvSpPr>
          <p:cNvPr id="5" name="Rectangle 4"/>
          <p:cNvSpPr/>
          <p:nvPr/>
        </p:nvSpPr>
        <p:spPr>
          <a:xfrm flipH="1">
            <a:off x="5927304" y="934313"/>
            <a:ext cx="6264696" cy="5016758"/>
          </a:xfrm>
          <a:prstGeom prst="rect">
            <a:avLst/>
          </a:prstGeom>
        </p:spPr>
        <p:txBody>
          <a:bodyPr wrap="square">
            <a:spAutoFit/>
          </a:bodyPr>
          <a:lstStyle/>
          <a:p>
            <a:r>
              <a:rPr lang="en-US" sz="1600" i="1" dirty="0">
                <a:solidFill>
                  <a:schemeClr val="bg1"/>
                </a:solidFill>
              </a:rPr>
              <a:t>We introduce ourselves as one of the prime and most economical export </a:t>
            </a:r>
          </a:p>
          <a:p>
            <a:r>
              <a:rPr lang="en-US" sz="1600" i="1" dirty="0">
                <a:solidFill>
                  <a:schemeClr val="bg1"/>
                </a:solidFill>
              </a:rPr>
              <a:t>oriented Textile garments house of Bangladesh, equipped with most </a:t>
            </a:r>
          </a:p>
          <a:p>
            <a:r>
              <a:rPr lang="en-US" sz="1600" i="1" dirty="0">
                <a:solidFill>
                  <a:schemeClr val="bg1"/>
                </a:solidFill>
              </a:rPr>
              <a:t>modern procedure to support the direct buyer. With </a:t>
            </a:r>
            <a:r>
              <a:rPr lang="en-US" sz="1600" i="1" dirty="0" smtClean="0">
                <a:solidFill>
                  <a:schemeClr val="bg1"/>
                </a:solidFill>
              </a:rPr>
              <a:t>12 </a:t>
            </a:r>
            <a:r>
              <a:rPr lang="en-US" sz="1600" i="1" dirty="0">
                <a:solidFill>
                  <a:schemeClr val="bg1"/>
                </a:solidFill>
              </a:rPr>
              <a:t>years of fashion   business experience we’ve literally experienced   everything and have       worked on every possible style &amp; fit. Keeping up with the Changing trends and upcoming challenges has been  our secret mantra.</a:t>
            </a:r>
          </a:p>
          <a:p>
            <a:endParaRPr lang="en-US" sz="1600" dirty="0">
              <a:solidFill>
                <a:schemeClr val="bg1"/>
              </a:solidFill>
            </a:endParaRPr>
          </a:p>
          <a:p>
            <a:r>
              <a:rPr lang="en-US" sz="1600" i="1" dirty="0">
                <a:solidFill>
                  <a:schemeClr val="bg1"/>
                </a:solidFill>
              </a:rPr>
              <a:t>Success lies in our ability to adapt quickly to the latest fashion trends.        Innovation fuels our wagon in our journey to success. Fashion is                  geographical and we are flexible in meeting the requirements of every      customer. We maintain high degree of efficiency in our quality and             productivity every time.</a:t>
            </a:r>
          </a:p>
          <a:p>
            <a:endParaRPr lang="en-US" sz="1600" dirty="0">
              <a:solidFill>
                <a:schemeClr val="bg1"/>
              </a:solidFill>
            </a:endParaRPr>
          </a:p>
          <a:p>
            <a:r>
              <a:rPr lang="en-US" sz="1600" i="1" dirty="0">
                <a:solidFill>
                  <a:schemeClr val="bg1"/>
                </a:solidFill>
              </a:rPr>
              <a:t>The company is engaged in wide array of fashion catering to diverse         markets of the world each having different needs and tastes.  Supplying   all types of Knit, Sweater &amp; Woven garments, with different washes,         embroideries and surface treatment. Our partner factories have Knitting &amp; sewing capabilities for all types of garments category. </a:t>
            </a:r>
            <a:endParaRPr lang="en-US" sz="1600" dirty="0">
              <a:solidFill>
                <a:schemeClr val="bg1"/>
              </a:solidFill>
            </a:endParaRPr>
          </a:p>
          <a:p>
            <a:pPr algn="just" defTabSz="342900" latinLnBrk="0"/>
            <a:endParaRPr lang="en-US" sz="1600" i="1" dirty="0">
              <a:solidFill>
                <a:schemeClr val="bg1"/>
              </a:solidFill>
              <a:latin typeface="Trebuchet MS"/>
              <a:ea typeface="Verdana" pitchFamily="34" charset="0"/>
              <a:cs typeface="Trebuchet MS"/>
            </a:endParaRPr>
          </a:p>
          <a:p>
            <a:pPr algn="just" defTabSz="342900" latinLnBrk="0"/>
            <a:endParaRPr lang="en-US" sz="1600" i="1" dirty="0">
              <a:solidFill>
                <a:schemeClr val="bg1"/>
              </a:solidFill>
              <a:latin typeface="Trebuchet MS"/>
              <a:ea typeface="Verdana" pitchFamily="34" charset="0"/>
              <a:cs typeface="Trebuchet MS"/>
            </a:endParaRPr>
          </a:p>
        </p:txBody>
      </p:sp>
      <p:sp>
        <p:nvSpPr>
          <p:cNvPr id="10" name="Rounded Rectangle 9"/>
          <p:cNvSpPr/>
          <p:nvPr/>
        </p:nvSpPr>
        <p:spPr>
          <a:xfrm>
            <a:off x="1394733" y="4941168"/>
            <a:ext cx="3816424" cy="1080120"/>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just" defTabSz="342900" latinLnBrk="0"/>
            <a:r>
              <a:rPr lang="en-US" i="1" dirty="0" smtClean="0">
                <a:solidFill>
                  <a:schemeClr val="tx1"/>
                </a:solidFill>
                <a:latin typeface="Trebuchet MS"/>
                <a:ea typeface="Verdana" pitchFamily="34" charset="0"/>
                <a:cs typeface="Trebuchet MS"/>
              </a:rPr>
              <a:t>CEO</a:t>
            </a:r>
            <a:endParaRPr lang="en-US" i="1" dirty="0">
              <a:solidFill>
                <a:schemeClr val="tx1"/>
              </a:solidFill>
              <a:latin typeface="Trebuchet MS"/>
              <a:ea typeface="Verdana" pitchFamily="34" charset="0"/>
              <a:cs typeface="Trebuchet MS"/>
            </a:endParaRPr>
          </a:p>
          <a:p>
            <a:pPr algn="just" defTabSz="342900" latinLnBrk="0"/>
            <a:r>
              <a:rPr lang="en-US" i="1" dirty="0">
                <a:solidFill>
                  <a:schemeClr val="tx1"/>
                </a:solidFill>
                <a:latin typeface="Trebuchet MS"/>
                <a:ea typeface="Verdana" pitchFamily="34" charset="0"/>
                <a:cs typeface="Trebuchet MS"/>
              </a:rPr>
              <a:t>Md. Murad Khan</a:t>
            </a:r>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24000" y="3048000"/>
            <a:ext cx="2133600" cy="2133600"/>
          </a:xfrm>
          <a:prstGeom prst="rect">
            <a:avLst/>
          </a:prstGeom>
        </p:spPr>
      </p:pic>
    </p:spTree>
    <p:extLst>
      <p:ext uri="{BB962C8B-B14F-4D97-AF65-F5344CB8AC3E}">
        <p14:creationId xmlns:p14="http://schemas.microsoft.com/office/powerpoint/2010/main" val="8723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5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p:cNvSpPr txBox="1">
            <a:spLocks/>
          </p:cNvSpPr>
          <p:nvPr/>
        </p:nvSpPr>
        <p:spPr>
          <a:xfrm>
            <a:off x="3242097" y="2012457"/>
            <a:ext cx="2941957" cy="1920599"/>
          </a:xfrm>
          <a:prstGeom prst="rect">
            <a:avLst/>
          </a:prstGeom>
          <a:ln>
            <a:no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kumimoji="0" lang="en-US" sz="1800" b="1" i="0" u="none" strike="noStrike" kern="1200" cap="none" spc="0" normalizeH="0" baseline="0" noProof="0" dirty="0">
                <a:ln>
                  <a:noFill/>
                </a:ln>
                <a:effectLst/>
                <a:uLnTx/>
                <a:uFillTx/>
                <a:latin typeface="Trebuchet MS" panose="020B0603020202020204" pitchFamily="34" charset="0"/>
              </a:rPr>
              <a:t>Operational excellence-</a:t>
            </a:r>
          </a:p>
          <a:p>
            <a:pPr marL="0" indent="0">
              <a:lnSpc>
                <a:spcPct val="100000"/>
              </a:lnSpc>
              <a:buNone/>
            </a:pPr>
            <a:r>
              <a:rPr lang="en-US" sz="1400" dirty="0">
                <a:latin typeface="Trebuchet MS" panose="020B0603020202020204" pitchFamily="34" charset="0"/>
                <a:cs typeface="Arial" pitchFamily="34" charset="0"/>
              </a:rPr>
              <a:t>Execution is the key, to ensure the right product right quality deliver right time at right place. </a:t>
            </a:r>
          </a:p>
          <a:p>
            <a:pPr>
              <a:lnSpc>
                <a:spcPct val="100000"/>
              </a:lnSpc>
              <a:buFontTx/>
              <a:buChar char="-"/>
            </a:pPr>
            <a:r>
              <a:rPr kumimoji="0" lang="en-US" sz="1400" i="0" u="none" strike="noStrike" kern="1200" cap="none" spc="0" normalizeH="0" baseline="0" noProof="0" dirty="0">
                <a:ln>
                  <a:noFill/>
                </a:ln>
                <a:effectLst/>
                <a:uLnTx/>
                <a:uFillTx/>
                <a:latin typeface="Trebuchet MS" panose="020B0603020202020204" pitchFamily="34" charset="0"/>
                <a:cs typeface="Arial" pitchFamily="34" charset="0"/>
              </a:rPr>
              <a:t>WIP</a:t>
            </a:r>
            <a:r>
              <a:rPr kumimoji="0" lang="en-US" sz="1400" i="0" u="none" strike="noStrike" kern="1200" cap="none" spc="0" normalizeH="0" noProof="0" dirty="0">
                <a:ln>
                  <a:noFill/>
                </a:ln>
                <a:effectLst/>
                <a:uLnTx/>
                <a:uFillTx/>
                <a:latin typeface="Trebuchet MS" panose="020B0603020202020204" pitchFamily="34" charset="0"/>
                <a:cs typeface="Arial" pitchFamily="34" charset="0"/>
              </a:rPr>
              <a:t> Meeting</a:t>
            </a:r>
          </a:p>
          <a:p>
            <a:pPr marL="0" indent="0">
              <a:lnSpc>
                <a:spcPct val="100000"/>
              </a:lnSpc>
              <a:buNone/>
            </a:pPr>
            <a:r>
              <a:rPr lang="en-US" sz="1400" dirty="0">
                <a:latin typeface="Trebuchet MS" panose="020B0603020202020204" pitchFamily="34" charset="0"/>
                <a:cs typeface="Arial" pitchFamily="34" charset="0"/>
              </a:rPr>
              <a:t>-    Escalation process </a:t>
            </a:r>
            <a:endParaRPr kumimoji="0" lang="en-US" sz="1400" i="0" u="none" strike="noStrike" kern="1200" cap="none" spc="0" normalizeH="0" baseline="0" noProof="0" dirty="0">
              <a:ln>
                <a:noFill/>
              </a:ln>
              <a:effectLst/>
              <a:uLnTx/>
              <a:uFillTx/>
              <a:latin typeface="Trebuchet MS" panose="020B0603020202020204" pitchFamily="34" charset="0"/>
            </a:endParaRPr>
          </a:p>
        </p:txBody>
      </p:sp>
      <p:sp>
        <p:nvSpPr>
          <p:cNvPr id="9" name="Subtitle 2"/>
          <p:cNvSpPr txBox="1">
            <a:spLocks/>
          </p:cNvSpPr>
          <p:nvPr/>
        </p:nvSpPr>
        <p:spPr>
          <a:xfrm>
            <a:off x="3170382" y="4425341"/>
            <a:ext cx="3222179" cy="997712"/>
          </a:xfrm>
          <a:prstGeom prst="rect">
            <a:avLst/>
          </a:prstGeom>
          <a:ln>
            <a:no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1800" b="1" dirty="0">
                <a:latin typeface="Trebuchet MS" panose="020B0603020202020204" pitchFamily="34" charset="0"/>
              </a:rPr>
              <a:t>Strong Supply Chain partner </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1800" b="1" dirty="0">
                <a:latin typeface="Trebuchet MS" panose="020B0603020202020204" pitchFamily="34" charset="0"/>
              </a:rPr>
              <a:t>	&amp;</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1800" b="1" dirty="0">
                <a:latin typeface="Trebuchet MS" panose="020B0603020202020204" pitchFamily="34" charset="0"/>
              </a:rPr>
              <a:t>Build Collaboration </a:t>
            </a:r>
            <a:endParaRPr kumimoji="0" lang="en-US" sz="1800" b="1" i="0" u="none" strike="noStrike" kern="1200" cap="none" spc="0" normalizeH="0" baseline="0" noProof="0" dirty="0">
              <a:ln>
                <a:noFill/>
              </a:ln>
              <a:effectLst/>
              <a:uLnTx/>
              <a:uFillTx/>
              <a:latin typeface="Trebuchet MS" panose="020B0603020202020204" pitchFamily="34" charset="0"/>
            </a:endParaRPr>
          </a:p>
        </p:txBody>
      </p:sp>
      <p:sp>
        <p:nvSpPr>
          <p:cNvPr id="13" name="Subtitle 2"/>
          <p:cNvSpPr txBox="1">
            <a:spLocks/>
          </p:cNvSpPr>
          <p:nvPr/>
        </p:nvSpPr>
        <p:spPr>
          <a:xfrm>
            <a:off x="8691110" y="2440037"/>
            <a:ext cx="2877498" cy="1190834"/>
          </a:xfrm>
          <a:prstGeom prst="rect">
            <a:avLst/>
          </a:prstGeom>
          <a:ln>
            <a:no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1800" dirty="0">
                <a:latin typeface="Trebuchet MS" panose="020B0603020202020204" pitchFamily="34" charset="0"/>
              </a:rPr>
              <a:t>Quality 360 Degree</a:t>
            </a:r>
          </a:p>
          <a:p>
            <a:pPr marL="0" indent="0">
              <a:lnSpc>
                <a:spcPct val="100000"/>
              </a:lnSpc>
              <a:buNone/>
            </a:pPr>
            <a:r>
              <a:rPr lang="en-US" sz="1400" b="1" dirty="0">
                <a:latin typeface="Trebuchet MS" panose="020B0603020202020204" pitchFamily="34" charset="0"/>
                <a:cs typeface="Arial" pitchFamily="34" charset="0"/>
              </a:rPr>
              <a:t>Product Excellence</a:t>
            </a:r>
            <a:r>
              <a:rPr lang="en-US" sz="1400" dirty="0">
                <a:latin typeface="Trebuchet MS" panose="020B0603020202020204" pitchFamily="34" charset="0"/>
                <a:cs typeface="Arial" pitchFamily="34" charset="0"/>
              </a:rPr>
              <a:t>; Ensure the garment fit, comfort, and performance across all categories to support growth, and positive customer experience. </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900" b="0" i="0" u="none" strike="noStrike" kern="1200" cap="none" spc="0" normalizeH="0" baseline="0" noProof="0" dirty="0">
              <a:ln>
                <a:noFill/>
              </a:ln>
              <a:effectLst/>
              <a:uLnTx/>
              <a:uFillTx/>
              <a:latin typeface="Calibri" panose="020F0502020204030204"/>
            </a:endParaRPr>
          </a:p>
        </p:txBody>
      </p:sp>
      <p:sp>
        <p:nvSpPr>
          <p:cNvPr id="17" name="Subtitle 2"/>
          <p:cNvSpPr txBox="1">
            <a:spLocks/>
          </p:cNvSpPr>
          <p:nvPr/>
        </p:nvSpPr>
        <p:spPr>
          <a:xfrm>
            <a:off x="8567352" y="4605994"/>
            <a:ext cx="3286897" cy="997712"/>
          </a:xfrm>
          <a:prstGeom prst="rect">
            <a:avLst/>
          </a:prstGeom>
          <a:ln>
            <a:no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None/>
              <a:tabLst/>
              <a:defRPr/>
            </a:pPr>
            <a:r>
              <a:rPr lang="en-US" sz="1800" dirty="0">
                <a:latin typeface="Trebuchet MS" panose="020B0603020202020204" pitchFamily="34" charset="0"/>
              </a:rPr>
              <a:t>Leadership &amp; Communication</a:t>
            </a:r>
          </a:p>
          <a:p>
            <a:pPr marL="0" indent="0">
              <a:lnSpc>
                <a:spcPct val="100000"/>
              </a:lnSpc>
              <a:buNone/>
            </a:pPr>
            <a:r>
              <a:rPr lang="en-US" sz="1400" dirty="0">
                <a:latin typeface="Trebuchet MS" panose="020B0603020202020204" pitchFamily="34" charset="0"/>
                <a:cs typeface="Arial" pitchFamily="34" charset="0"/>
              </a:rPr>
              <a:t>Build a </a:t>
            </a:r>
            <a:r>
              <a:rPr lang="en-US" sz="1400" b="1" dirty="0">
                <a:latin typeface="Trebuchet MS" panose="020B0603020202020204" pitchFamily="34" charset="0"/>
                <a:cs typeface="Arial" pitchFamily="34" charset="0"/>
              </a:rPr>
              <a:t>best in class team </a:t>
            </a:r>
            <a:r>
              <a:rPr lang="en-US" sz="1400" dirty="0">
                <a:latin typeface="Trebuchet MS" panose="020B0603020202020204" pitchFamily="34" charset="0"/>
                <a:cs typeface="Arial" pitchFamily="34" charset="0"/>
              </a:rPr>
              <a:t>through a culture of leadership, trust, and empowerment to optimize sourcing opportunities to achieve maximum business results.</a:t>
            </a:r>
          </a:p>
          <a:p>
            <a:pPr marL="0" marR="0" lvl="0" indent="0" algn="l" defTabSz="914400" rtl="0" eaLnBrk="1" fontAlgn="auto" latinLnBrk="0" hangingPunct="1">
              <a:lnSpc>
                <a:spcPct val="100000"/>
              </a:lnSpc>
              <a:spcBef>
                <a:spcPts val="1000"/>
              </a:spcBef>
              <a:spcAft>
                <a:spcPts val="0"/>
              </a:spcAft>
              <a:buClrTx/>
              <a:buSzTx/>
              <a:buNone/>
              <a:tabLst/>
              <a:defRPr/>
            </a:pPr>
            <a:endParaRPr lang="en-US" sz="1600" dirty="0">
              <a:latin typeface="Calibri" panose="020F0502020204030204"/>
            </a:endParaRPr>
          </a:p>
        </p:txBody>
      </p:sp>
      <p:sp>
        <p:nvSpPr>
          <p:cNvPr id="19" name="Rectangle 18"/>
          <p:cNvSpPr/>
          <p:nvPr/>
        </p:nvSpPr>
        <p:spPr>
          <a:xfrm flipH="1">
            <a:off x="964442" y="438773"/>
            <a:ext cx="4178301"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300" normalizeH="0" baseline="0" noProof="0" dirty="0">
                <a:ln>
                  <a:noFill/>
                </a:ln>
                <a:solidFill>
                  <a:srgbClr val="ED7D31"/>
                </a:solidFill>
                <a:effectLst/>
                <a:uLnTx/>
                <a:uFillTx/>
                <a:latin typeface="Calibri" panose="020F0502020204030204"/>
                <a:ea typeface="+mn-ea"/>
                <a:cs typeface="+mn-cs"/>
              </a:rPr>
              <a:t>Our Focus</a:t>
            </a:r>
          </a:p>
        </p:txBody>
      </p:sp>
      <p:grpSp>
        <p:nvGrpSpPr>
          <p:cNvPr id="5" name="Group 4"/>
          <p:cNvGrpSpPr/>
          <p:nvPr/>
        </p:nvGrpSpPr>
        <p:grpSpPr>
          <a:xfrm>
            <a:off x="918520" y="2092180"/>
            <a:ext cx="2174790" cy="1717589"/>
            <a:chOff x="918520" y="2092180"/>
            <a:chExt cx="2174790" cy="1717589"/>
          </a:xfrm>
        </p:grpSpPr>
        <p:sp>
          <p:nvSpPr>
            <p:cNvPr id="2" name="Rectangle 1"/>
            <p:cNvSpPr/>
            <p:nvPr/>
          </p:nvSpPr>
          <p:spPr>
            <a:xfrm>
              <a:off x="918520" y="2092180"/>
              <a:ext cx="2174790" cy="171758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795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1</a:t>
              </a:r>
            </a:p>
          </p:txBody>
        </p:sp>
        <p:grpSp>
          <p:nvGrpSpPr>
            <p:cNvPr id="21" name="Group 4"/>
            <p:cNvGrpSpPr>
              <a:grpSpLocks noChangeAspect="1"/>
            </p:cNvGrpSpPr>
            <p:nvPr/>
          </p:nvGrpSpPr>
          <p:grpSpPr bwMode="auto">
            <a:xfrm>
              <a:off x="2375064" y="3091787"/>
              <a:ext cx="522093" cy="521565"/>
              <a:chOff x="2354" y="677"/>
              <a:chExt cx="2966" cy="2963"/>
            </a:xfrm>
            <a:solidFill>
              <a:schemeClr val="bg1"/>
            </a:solidFill>
          </p:grpSpPr>
          <p:sp>
            <p:nvSpPr>
              <p:cNvPr id="24" name="Freeform 6"/>
              <p:cNvSpPr>
                <a:spLocks/>
              </p:cNvSpPr>
              <p:nvPr/>
            </p:nvSpPr>
            <p:spPr bwMode="auto">
              <a:xfrm>
                <a:off x="3789" y="2367"/>
                <a:ext cx="97" cy="95"/>
              </a:xfrm>
              <a:custGeom>
                <a:avLst/>
                <a:gdLst>
                  <a:gd name="T0" fmla="*/ 96 w 193"/>
                  <a:gd name="T1" fmla="*/ 0 h 191"/>
                  <a:gd name="T2" fmla="*/ 121 w 193"/>
                  <a:gd name="T3" fmla="*/ 4 h 191"/>
                  <a:gd name="T4" fmla="*/ 144 w 193"/>
                  <a:gd name="T5" fmla="*/ 13 h 191"/>
                  <a:gd name="T6" fmla="*/ 164 w 193"/>
                  <a:gd name="T7" fmla="*/ 27 h 191"/>
                  <a:gd name="T8" fmla="*/ 179 w 193"/>
                  <a:gd name="T9" fmla="*/ 49 h 191"/>
                  <a:gd name="T10" fmla="*/ 190 w 193"/>
                  <a:gd name="T11" fmla="*/ 70 h 191"/>
                  <a:gd name="T12" fmla="*/ 193 w 193"/>
                  <a:gd name="T13" fmla="*/ 96 h 191"/>
                  <a:gd name="T14" fmla="*/ 190 w 193"/>
                  <a:gd name="T15" fmla="*/ 121 h 191"/>
                  <a:gd name="T16" fmla="*/ 179 w 193"/>
                  <a:gd name="T17" fmla="*/ 144 h 191"/>
                  <a:gd name="T18" fmla="*/ 164 w 193"/>
                  <a:gd name="T19" fmla="*/ 164 h 191"/>
                  <a:gd name="T20" fmla="*/ 144 w 193"/>
                  <a:gd name="T21" fmla="*/ 179 h 191"/>
                  <a:gd name="T22" fmla="*/ 121 w 193"/>
                  <a:gd name="T23" fmla="*/ 188 h 191"/>
                  <a:gd name="T24" fmla="*/ 96 w 193"/>
                  <a:gd name="T25" fmla="*/ 191 h 191"/>
                  <a:gd name="T26" fmla="*/ 72 w 193"/>
                  <a:gd name="T27" fmla="*/ 188 h 191"/>
                  <a:gd name="T28" fmla="*/ 49 w 193"/>
                  <a:gd name="T29" fmla="*/ 179 h 191"/>
                  <a:gd name="T30" fmla="*/ 29 w 193"/>
                  <a:gd name="T31" fmla="*/ 164 h 191"/>
                  <a:gd name="T32" fmla="*/ 13 w 193"/>
                  <a:gd name="T33" fmla="*/ 144 h 191"/>
                  <a:gd name="T34" fmla="*/ 4 w 193"/>
                  <a:gd name="T35" fmla="*/ 121 h 191"/>
                  <a:gd name="T36" fmla="*/ 0 w 193"/>
                  <a:gd name="T37" fmla="*/ 96 h 191"/>
                  <a:gd name="T38" fmla="*/ 4 w 193"/>
                  <a:gd name="T39" fmla="*/ 70 h 191"/>
                  <a:gd name="T40" fmla="*/ 13 w 193"/>
                  <a:gd name="T41" fmla="*/ 47 h 191"/>
                  <a:gd name="T42" fmla="*/ 29 w 193"/>
                  <a:gd name="T43" fmla="*/ 27 h 191"/>
                  <a:gd name="T44" fmla="*/ 49 w 193"/>
                  <a:gd name="T45" fmla="*/ 13 h 191"/>
                  <a:gd name="T46" fmla="*/ 72 w 193"/>
                  <a:gd name="T47" fmla="*/ 4 h 191"/>
                  <a:gd name="T48" fmla="*/ 96 w 193"/>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3" h="191">
                    <a:moveTo>
                      <a:pt x="96" y="0"/>
                    </a:moveTo>
                    <a:lnTo>
                      <a:pt x="121" y="4"/>
                    </a:lnTo>
                    <a:lnTo>
                      <a:pt x="144" y="13"/>
                    </a:lnTo>
                    <a:lnTo>
                      <a:pt x="164" y="27"/>
                    </a:lnTo>
                    <a:lnTo>
                      <a:pt x="179" y="49"/>
                    </a:lnTo>
                    <a:lnTo>
                      <a:pt x="190" y="70"/>
                    </a:lnTo>
                    <a:lnTo>
                      <a:pt x="193" y="96"/>
                    </a:lnTo>
                    <a:lnTo>
                      <a:pt x="190" y="121"/>
                    </a:lnTo>
                    <a:lnTo>
                      <a:pt x="179" y="144"/>
                    </a:lnTo>
                    <a:lnTo>
                      <a:pt x="164" y="164"/>
                    </a:lnTo>
                    <a:lnTo>
                      <a:pt x="144" y="179"/>
                    </a:lnTo>
                    <a:lnTo>
                      <a:pt x="121" y="188"/>
                    </a:lnTo>
                    <a:lnTo>
                      <a:pt x="96" y="191"/>
                    </a:lnTo>
                    <a:lnTo>
                      <a:pt x="72" y="188"/>
                    </a:lnTo>
                    <a:lnTo>
                      <a:pt x="49" y="179"/>
                    </a:lnTo>
                    <a:lnTo>
                      <a:pt x="29" y="164"/>
                    </a:lnTo>
                    <a:lnTo>
                      <a:pt x="13" y="144"/>
                    </a:lnTo>
                    <a:lnTo>
                      <a:pt x="4" y="121"/>
                    </a:lnTo>
                    <a:lnTo>
                      <a:pt x="0" y="96"/>
                    </a:lnTo>
                    <a:lnTo>
                      <a:pt x="4" y="70"/>
                    </a:lnTo>
                    <a:lnTo>
                      <a:pt x="13" y="47"/>
                    </a:lnTo>
                    <a:lnTo>
                      <a:pt x="29" y="27"/>
                    </a:lnTo>
                    <a:lnTo>
                      <a:pt x="49" y="13"/>
                    </a:lnTo>
                    <a:lnTo>
                      <a:pt x="72" y="4"/>
                    </a:lnTo>
                    <a:lnTo>
                      <a:pt x="96" y="0"/>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7"/>
              <p:cNvSpPr>
                <a:spLocks/>
              </p:cNvSpPr>
              <p:nvPr/>
            </p:nvSpPr>
            <p:spPr bwMode="auto">
              <a:xfrm>
                <a:off x="3584" y="2367"/>
                <a:ext cx="96" cy="95"/>
              </a:xfrm>
              <a:custGeom>
                <a:avLst/>
                <a:gdLst>
                  <a:gd name="T0" fmla="*/ 96 w 192"/>
                  <a:gd name="T1" fmla="*/ 0 h 191"/>
                  <a:gd name="T2" fmla="*/ 121 w 192"/>
                  <a:gd name="T3" fmla="*/ 4 h 191"/>
                  <a:gd name="T4" fmla="*/ 145 w 192"/>
                  <a:gd name="T5" fmla="*/ 13 h 191"/>
                  <a:gd name="T6" fmla="*/ 165 w 192"/>
                  <a:gd name="T7" fmla="*/ 27 h 191"/>
                  <a:gd name="T8" fmla="*/ 179 w 192"/>
                  <a:gd name="T9" fmla="*/ 47 h 191"/>
                  <a:gd name="T10" fmla="*/ 190 w 192"/>
                  <a:gd name="T11" fmla="*/ 70 h 191"/>
                  <a:gd name="T12" fmla="*/ 192 w 192"/>
                  <a:gd name="T13" fmla="*/ 96 h 191"/>
                  <a:gd name="T14" fmla="*/ 190 w 192"/>
                  <a:gd name="T15" fmla="*/ 121 h 191"/>
                  <a:gd name="T16" fmla="*/ 179 w 192"/>
                  <a:gd name="T17" fmla="*/ 144 h 191"/>
                  <a:gd name="T18" fmla="*/ 165 w 192"/>
                  <a:gd name="T19" fmla="*/ 164 h 191"/>
                  <a:gd name="T20" fmla="*/ 145 w 192"/>
                  <a:gd name="T21" fmla="*/ 179 h 191"/>
                  <a:gd name="T22" fmla="*/ 121 w 192"/>
                  <a:gd name="T23" fmla="*/ 188 h 191"/>
                  <a:gd name="T24" fmla="*/ 96 w 192"/>
                  <a:gd name="T25" fmla="*/ 191 h 191"/>
                  <a:gd name="T26" fmla="*/ 71 w 192"/>
                  <a:gd name="T27" fmla="*/ 188 h 191"/>
                  <a:gd name="T28" fmla="*/ 49 w 192"/>
                  <a:gd name="T29" fmla="*/ 179 h 191"/>
                  <a:gd name="T30" fmla="*/ 29 w 192"/>
                  <a:gd name="T31" fmla="*/ 164 h 191"/>
                  <a:gd name="T32" fmla="*/ 13 w 192"/>
                  <a:gd name="T33" fmla="*/ 144 h 191"/>
                  <a:gd name="T34" fmla="*/ 4 w 192"/>
                  <a:gd name="T35" fmla="*/ 121 h 191"/>
                  <a:gd name="T36" fmla="*/ 0 w 192"/>
                  <a:gd name="T37" fmla="*/ 96 h 191"/>
                  <a:gd name="T38" fmla="*/ 4 w 192"/>
                  <a:gd name="T39" fmla="*/ 70 h 191"/>
                  <a:gd name="T40" fmla="*/ 13 w 192"/>
                  <a:gd name="T41" fmla="*/ 47 h 191"/>
                  <a:gd name="T42" fmla="*/ 29 w 192"/>
                  <a:gd name="T43" fmla="*/ 27 h 191"/>
                  <a:gd name="T44" fmla="*/ 49 w 192"/>
                  <a:gd name="T45" fmla="*/ 13 h 191"/>
                  <a:gd name="T46" fmla="*/ 71 w 192"/>
                  <a:gd name="T47" fmla="*/ 4 h 191"/>
                  <a:gd name="T48" fmla="*/ 96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96" y="0"/>
                    </a:moveTo>
                    <a:lnTo>
                      <a:pt x="121" y="4"/>
                    </a:lnTo>
                    <a:lnTo>
                      <a:pt x="145" y="13"/>
                    </a:lnTo>
                    <a:lnTo>
                      <a:pt x="165" y="27"/>
                    </a:lnTo>
                    <a:lnTo>
                      <a:pt x="179" y="47"/>
                    </a:lnTo>
                    <a:lnTo>
                      <a:pt x="190" y="70"/>
                    </a:lnTo>
                    <a:lnTo>
                      <a:pt x="192" y="96"/>
                    </a:lnTo>
                    <a:lnTo>
                      <a:pt x="190" y="121"/>
                    </a:lnTo>
                    <a:lnTo>
                      <a:pt x="179" y="144"/>
                    </a:lnTo>
                    <a:lnTo>
                      <a:pt x="165" y="164"/>
                    </a:lnTo>
                    <a:lnTo>
                      <a:pt x="145" y="179"/>
                    </a:lnTo>
                    <a:lnTo>
                      <a:pt x="121" y="188"/>
                    </a:lnTo>
                    <a:lnTo>
                      <a:pt x="96" y="191"/>
                    </a:lnTo>
                    <a:lnTo>
                      <a:pt x="71" y="188"/>
                    </a:lnTo>
                    <a:lnTo>
                      <a:pt x="49" y="179"/>
                    </a:lnTo>
                    <a:lnTo>
                      <a:pt x="29" y="164"/>
                    </a:lnTo>
                    <a:lnTo>
                      <a:pt x="13" y="144"/>
                    </a:lnTo>
                    <a:lnTo>
                      <a:pt x="4" y="121"/>
                    </a:lnTo>
                    <a:lnTo>
                      <a:pt x="0" y="96"/>
                    </a:lnTo>
                    <a:lnTo>
                      <a:pt x="4" y="70"/>
                    </a:lnTo>
                    <a:lnTo>
                      <a:pt x="13" y="47"/>
                    </a:lnTo>
                    <a:lnTo>
                      <a:pt x="29" y="27"/>
                    </a:lnTo>
                    <a:lnTo>
                      <a:pt x="49" y="13"/>
                    </a:lnTo>
                    <a:lnTo>
                      <a:pt x="71" y="4"/>
                    </a:lnTo>
                    <a:lnTo>
                      <a:pt x="96" y="0"/>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8"/>
              <p:cNvSpPr>
                <a:spLocks/>
              </p:cNvSpPr>
              <p:nvPr/>
            </p:nvSpPr>
            <p:spPr bwMode="auto">
              <a:xfrm>
                <a:off x="3994" y="2367"/>
                <a:ext cx="96" cy="95"/>
              </a:xfrm>
              <a:custGeom>
                <a:avLst/>
                <a:gdLst>
                  <a:gd name="T0" fmla="*/ 95 w 193"/>
                  <a:gd name="T1" fmla="*/ 0 h 191"/>
                  <a:gd name="T2" fmla="*/ 121 w 193"/>
                  <a:gd name="T3" fmla="*/ 4 h 191"/>
                  <a:gd name="T4" fmla="*/ 144 w 193"/>
                  <a:gd name="T5" fmla="*/ 13 h 191"/>
                  <a:gd name="T6" fmla="*/ 164 w 193"/>
                  <a:gd name="T7" fmla="*/ 27 h 191"/>
                  <a:gd name="T8" fmla="*/ 180 w 193"/>
                  <a:gd name="T9" fmla="*/ 49 h 191"/>
                  <a:gd name="T10" fmla="*/ 189 w 193"/>
                  <a:gd name="T11" fmla="*/ 70 h 191"/>
                  <a:gd name="T12" fmla="*/ 193 w 193"/>
                  <a:gd name="T13" fmla="*/ 96 h 191"/>
                  <a:gd name="T14" fmla="*/ 189 w 193"/>
                  <a:gd name="T15" fmla="*/ 121 h 191"/>
                  <a:gd name="T16" fmla="*/ 180 w 193"/>
                  <a:gd name="T17" fmla="*/ 144 h 191"/>
                  <a:gd name="T18" fmla="*/ 164 w 193"/>
                  <a:gd name="T19" fmla="*/ 164 h 191"/>
                  <a:gd name="T20" fmla="*/ 144 w 193"/>
                  <a:gd name="T21" fmla="*/ 179 h 191"/>
                  <a:gd name="T22" fmla="*/ 121 w 193"/>
                  <a:gd name="T23" fmla="*/ 188 h 191"/>
                  <a:gd name="T24" fmla="*/ 95 w 193"/>
                  <a:gd name="T25" fmla="*/ 191 h 191"/>
                  <a:gd name="T26" fmla="*/ 72 w 193"/>
                  <a:gd name="T27" fmla="*/ 188 h 191"/>
                  <a:gd name="T28" fmla="*/ 48 w 193"/>
                  <a:gd name="T29" fmla="*/ 179 h 191"/>
                  <a:gd name="T30" fmla="*/ 29 w 193"/>
                  <a:gd name="T31" fmla="*/ 164 h 191"/>
                  <a:gd name="T32" fmla="*/ 12 w 193"/>
                  <a:gd name="T33" fmla="*/ 144 h 191"/>
                  <a:gd name="T34" fmla="*/ 3 w 193"/>
                  <a:gd name="T35" fmla="*/ 121 h 191"/>
                  <a:gd name="T36" fmla="*/ 0 w 193"/>
                  <a:gd name="T37" fmla="*/ 96 h 191"/>
                  <a:gd name="T38" fmla="*/ 3 w 193"/>
                  <a:gd name="T39" fmla="*/ 70 h 191"/>
                  <a:gd name="T40" fmla="*/ 12 w 193"/>
                  <a:gd name="T41" fmla="*/ 47 h 191"/>
                  <a:gd name="T42" fmla="*/ 29 w 193"/>
                  <a:gd name="T43" fmla="*/ 27 h 191"/>
                  <a:gd name="T44" fmla="*/ 48 w 193"/>
                  <a:gd name="T45" fmla="*/ 13 h 191"/>
                  <a:gd name="T46" fmla="*/ 72 w 193"/>
                  <a:gd name="T47" fmla="*/ 4 h 191"/>
                  <a:gd name="T48" fmla="*/ 95 w 193"/>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3" h="191">
                    <a:moveTo>
                      <a:pt x="95" y="0"/>
                    </a:moveTo>
                    <a:lnTo>
                      <a:pt x="121" y="4"/>
                    </a:lnTo>
                    <a:lnTo>
                      <a:pt x="144" y="13"/>
                    </a:lnTo>
                    <a:lnTo>
                      <a:pt x="164" y="27"/>
                    </a:lnTo>
                    <a:lnTo>
                      <a:pt x="180" y="49"/>
                    </a:lnTo>
                    <a:lnTo>
                      <a:pt x="189" y="70"/>
                    </a:lnTo>
                    <a:lnTo>
                      <a:pt x="193" y="96"/>
                    </a:lnTo>
                    <a:lnTo>
                      <a:pt x="189" y="121"/>
                    </a:lnTo>
                    <a:lnTo>
                      <a:pt x="180" y="144"/>
                    </a:lnTo>
                    <a:lnTo>
                      <a:pt x="164" y="164"/>
                    </a:lnTo>
                    <a:lnTo>
                      <a:pt x="144" y="179"/>
                    </a:lnTo>
                    <a:lnTo>
                      <a:pt x="121" y="188"/>
                    </a:lnTo>
                    <a:lnTo>
                      <a:pt x="95" y="191"/>
                    </a:lnTo>
                    <a:lnTo>
                      <a:pt x="72" y="188"/>
                    </a:lnTo>
                    <a:lnTo>
                      <a:pt x="48" y="179"/>
                    </a:lnTo>
                    <a:lnTo>
                      <a:pt x="29" y="164"/>
                    </a:lnTo>
                    <a:lnTo>
                      <a:pt x="12" y="144"/>
                    </a:lnTo>
                    <a:lnTo>
                      <a:pt x="3" y="121"/>
                    </a:lnTo>
                    <a:lnTo>
                      <a:pt x="0" y="96"/>
                    </a:lnTo>
                    <a:lnTo>
                      <a:pt x="3" y="70"/>
                    </a:lnTo>
                    <a:lnTo>
                      <a:pt x="12" y="47"/>
                    </a:lnTo>
                    <a:lnTo>
                      <a:pt x="29" y="27"/>
                    </a:lnTo>
                    <a:lnTo>
                      <a:pt x="48" y="13"/>
                    </a:lnTo>
                    <a:lnTo>
                      <a:pt x="72" y="4"/>
                    </a:lnTo>
                    <a:lnTo>
                      <a:pt x="95" y="0"/>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9"/>
              <p:cNvSpPr>
                <a:spLocks noEditPoints="1"/>
              </p:cNvSpPr>
              <p:nvPr/>
            </p:nvSpPr>
            <p:spPr bwMode="auto">
              <a:xfrm>
                <a:off x="2354" y="677"/>
                <a:ext cx="2966" cy="2963"/>
              </a:xfrm>
              <a:custGeom>
                <a:avLst/>
                <a:gdLst>
                  <a:gd name="T0" fmla="*/ 2668 w 5931"/>
                  <a:gd name="T1" fmla="*/ 5714 h 5927"/>
                  <a:gd name="T2" fmla="*/ 3336 w 5931"/>
                  <a:gd name="T3" fmla="*/ 5656 h 5927"/>
                  <a:gd name="T4" fmla="*/ 2551 w 5931"/>
                  <a:gd name="T5" fmla="*/ 5018 h 5927"/>
                  <a:gd name="T6" fmla="*/ 5666 w 5931"/>
                  <a:gd name="T7" fmla="*/ 4296 h 5927"/>
                  <a:gd name="T8" fmla="*/ 4496 w 5931"/>
                  <a:gd name="T9" fmla="*/ 3880 h 5927"/>
                  <a:gd name="T10" fmla="*/ 5021 w 5931"/>
                  <a:gd name="T11" fmla="*/ 4302 h 5927"/>
                  <a:gd name="T12" fmla="*/ 2186 w 5931"/>
                  <a:gd name="T13" fmla="*/ 4529 h 5927"/>
                  <a:gd name="T14" fmla="*/ 3673 w 5931"/>
                  <a:gd name="T15" fmla="*/ 4587 h 5927"/>
                  <a:gd name="T16" fmla="*/ 2141 w 5931"/>
                  <a:gd name="T17" fmla="*/ 3880 h 5927"/>
                  <a:gd name="T18" fmla="*/ 1430 w 5931"/>
                  <a:gd name="T19" fmla="*/ 4228 h 5927"/>
                  <a:gd name="T20" fmla="*/ 215 w 5931"/>
                  <a:gd name="T21" fmla="*/ 4257 h 5927"/>
                  <a:gd name="T22" fmla="*/ 5215 w 5931"/>
                  <a:gd name="T23" fmla="*/ 3265 h 5927"/>
                  <a:gd name="T24" fmla="*/ 5021 w 5931"/>
                  <a:gd name="T25" fmla="*/ 3687 h 5927"/>
                  <a:gd name="T26" fmla="*/ 2141 w 5931"/>
                  <a:gd name="T27" fmla="*/ 3265 h 5927"/>
                  <a:gd name="T28" fmla="*/ 193 w 5931"/>
                  <a:gd name="T29" fmla="*/ 3687 h 5927"/>
                  <a:gd name="T30" fmla="*/ 4305 w 5931"/>
                  <a:gd name="T31" fmla="*/ 2958 h 5927"/>
                  <a:gd name="T32" fmla="*/ 5215 w 5931"/>
                  <a:gd name="T33" fmla="*/ 2650 h 5927"/>
                  <a:gd name="T34" fmla="*/ 5021 w 5931"/>
                  <a:gd name="T35" fmla="*/ 3073 h 5927"/>
                  <a:gd name="T36" fmla="*/ 910 w 5931"/>
                  <a:gd name="T37" fmla="*/ 2650 h 5927"/>
                  <a:gd name="T38" fmla="*/ 2141 w 5931"/>
                  <a:gd name="T39" fmla="*/ 3073 h 5927"/>
                  <a:gd name="T40" fmla="*/ 5740 w 5931"/>
                  <a:gd name="T41" fmla="*/ 2145 h 5927"/>
                  <a:gd name="T42" fmla="*/ 4606 w 5931"/>
                  <a:gd name="T43" fmla="*/ 2036 h 5927"/>
                  <a:gd name="T44" fmla="*/ 5021 w 5931"/>
                  <a:gd name="T45" fmla="*/ 2458 h 5927"/>
                  <a:gd name="T46" fmla="*/ 2498 w 5931"/>
                  <a:gd name="T47" fmla="*/ 2036 h 5927"/>
                  <a:gd name="T48" fmla="*/ 1435 w 5931"/>
                  <a:gd name="T49" fmla="*/ 2145 h 5927"/>
                  <a:gd name="T50" fmla="*/ 302 w 5931"/>
                  <a:gd name="T51" fmla="*/ 2036 h 5927"/>
                  <a:gd name="T52" fmla="*/ 719 w 5931"/>
                  <a:gd name="T53" fmla="*/ 2458 h 5927"/>
                  <a:gd name="T54" fmla="*/ 2047 w 5931"/>
                  <a:gd name="T55" fmla="*/ 1380 h 5927"/>
                  <a:gd name="T56" fmla="*/ 2520 w 5931"/>
                  <a:gd name="T57" fmla="*/ 1843 h 5927"/>
                  <a:gd name="T58" fmla="*/ 3839 w 5931"/>
                  <a:gd name="T59" fmla="*/ 1463 h 5927"/>
                  <a:gd name="T60" fmla="*/ 2966 w 5931"/>
                  <a:gd name="T61" fmla="*/ 539 h 5927"/>
                  <a:gd name="T62" fmla="*/ 3043 w 5931"/>
                  <a:gd name="T63" fmla="*/ 40 h 5927"/>
                  <a:gd name="T64" fmla="*/ 4150 w 5931"/>
                  <a:gd name="T65" fmla="*/ 839 h 5927"/>
                  <a:gd name="T66" fmla="*/ 4110 w 5931"/>
                  <a:gd name="T67" fmla="*/ 1346 h 5927"/>
                  <a:gd name="T68" fmla="*/ 3751 w 5931"/>
                  <a:gd name="T69" fmla="*/ 1887 h 5927"/>
                  <a:gd name="T70" fmla="*/ 3946 w 5931"/>
                  <a:gd name="T71" fmla="*/ 2273 h 5927"/>
                  <a:gd name="T72" fmla="*/ 4310 w 5931"/>
                  <a:gd name="T73" fmla="*/ 2090 h 5927"/>
                  <a:gd name="T74" fmla="*/ 4552 w 5931"/>
                  <a:gd name="T75" fmla="*/ 1849 h 5927"/>
                  <a:gd name="T76" fmla="*/ 5861 w 5931"/>
                  <a:gd name="T77" fmla="*/ 1952 h 5927"/>
                  <a:gd name="T78" fmla="*/ 5913 w 5931"/>
                  <a:gd name="T79" fmla="*/ 4298 h 5927"/>
                  <a:gd name="T80" fmla="*/ 5630 w 5931"/>
                  <a:gd name="T81" fmla="*/ 4493 h 5927"/>
                  <a:gd name="T82" fmla="*/ 4346 w 5931"/>
                  <a:gd name="T83" fmla="*/ 4345 h 5927"/>
                  <a:gd name="T84" fmla="*/ 3980 w 5931"/>
                  <a:gd name="T85" fmla="*/ 4462 h 5927"/>
                  <a:gd name="T86" fmla="*/ 3709 w 5931"/>
                  <a:gd name="T87" fmla="*/ 4780 h 5927"/>
                  <a:gd name="T88" fmla="*/ 3529 w 5931"/>
                  <a:gd name="T89" fmla="*/ 5709 h 5927"/>
                  <a:gd name="T90" fmla="*/ 3171 w 5931"/>
                  <a:gd name="T91" fmla="*/ 5927 h 5927"/>
                  <a:gd name="T92" fmla="*/ 2435 w 5931"/>
                  <a:gd name="T93" fmla="*/ 5763 h 5927"/>
                  <a:gd name="T94" fmla="*/ 2285 w 5931"/>
                  <a:gd name="T95" fmla="*/ 4796 h 5927"/>
                  <a:gd name="T96" fmla="*/ 1969 w 5931"/>
                  <a:gd name="T97" fmla="*/ 4525 h 5927"/>
                  <a:gd name="T98" fmla="*/ 1608 w 5931"/>
                  <a:gd name="T99" fmla="*/ 4298 h 5927"/>
                  <a:gd name="T100" fmla="*/ 1327 w 5931"/>
                  <a:gd name="T101" fmla="*/ 4493 h 5927"/>
                  <a:gd name="T102" fmla="*/ 42 w 5931"/>
                  <a:gd name="T103" fmla="*/ 4345 h 5927"/>
                  <a:gd name="T104" fmla="*/ 42 w 5931"/>
                  <a:gd name="T105" fmla="*/ 1993 h 5927"/>
                  <a:gd name="T106" fmla="*/ 1327 w 5931"/>
                  <a:gd name="T107" fmla="*/ 1843 h 5927"/>
                  <a:gd name="T108" fmla="*/ 1608 w 5931"/>
                  <a:gd name="T109" fmla="*/ 2040 h 5927"/>
                  <a:gd name="T110" fmla="*/ 1966 w 5931"/>
                  <a:gd name="T111" fmla="*/ 2292 h 5927"/>
                  <a:gd name="T112" fmla="*/ 2166 w 5931"/>
                  <a:gd name="T113" fmla="*/ 1910 h 5927"/>
                  <a:gd name="T114" fmla="*/ 1865 w 5931"/>
                  <a:gd name="T115" fmla="*/ 1447 h 5927"/>
                  <a:gd name="T116" fmla="*/ 1762 w 5931"/>
                  <a:gd name="T117" fmla="*/ 859 h 5927"/>
                  <a:gd name="T118" fmla="*/ 2875 w 5931"/>
                  <a:gd name="T119" fmla="*/ 67 h 5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31" h="5927">
                    <a:moveTo>
                      <a:pt x="2551" y="5211"/>
                    </a:moveTo>
                    <a:lnTo>
                      <a:pt x="2551" y="5525"/>
                    </a:lnTo>
                    <a:lnTo>
                      <a:pt x="2556" y="5571"/>
                    </a:lnTo>
                    <a:lnTo>
                      <a:pt x="2572" y="5617"/>
                    </a:lnTo>
                    <a:lnTo>
                      <a:pt x="2596" y="5656"/>
                    </a:lnTo>
                    <a:lnTo>
                      <a:pt x="2630" y="5689"/>
                    </a:lnTo>
                    <a:lnTo>
                      <a:pt x="2668" y="5714"/>
                    </a:lnTo>
                    <a:lnTo>
                      <a:pt x="2713" y="5730"/>
                    </a:lnTo>
                    <a:lnTo>
                      <a:pt x="2762" y="5736"/>
                    </a:lnTo>
                    <a:lnTo>
                      <a:pt x="3171" y="5736"/>
                    </a:lnTo>
                    <a:lnTo>
                      <a:pt x="3220" y="5730"/>
                    </a:lnTo>
                    <a:lnTo>
                      <a:pt x="3263" y="5714"/>
                    </a:lnTo>
                    <a:lnTo>
                      <a:pt x="3303" y="5689"/>
                    </a:lnTo>
                    <a:lnTo>
                      <a:pt x="3336" y="5656"/>
                    </a:lnTo>
                    <a:lnTo>
                      <a:pt x="3361" y="5617"/>
                    </a:lnTo>
                    <a:lnTo>
                      <a:pt x="3377" y="5571"/>
                    </a:lnTo>
                    <a:lnTo>
                      <a:pt x="3383" y="5525"/>
                    </a:lnTo>
                    <a:lnTo>
                      <a:pt x="3383" y="5211"/>
                    </a:lnTo>
                    <a:lnTo>
                      <a:pt x="2551" y="5211"/>
                    </a:lnTo>
                    <a:close/>
                    <a:moveTo>
                      <a:pt x="2551" y="4801"/>
                    </a:moveTo>
                    <a:lnTo>
                      <a:pt x="2551" y="5018"/>
                    </a:lnTo>
                    <a:lnTo>
                      <a:pt x="3383" y="5018"/>
                    </a:lnTo>
                    <a:lnTo>
                      <a:pt x="3383" y="4801"/>
                    </a:lnTo>
                    <a:lnTo>
                      <a:pt x="2551" y="4801"/>
                    </a:lnTo>
                    <a:close/>
                    <a:moveTo>
                      <a:pt x="5215" y="3880"/>
                    </a:moveTo>
                    <a:lnTo>
                      <a:pt x="5215" y="4302"/>
                    </a:lnTo>
                    <a:lnTo>
                      <a:pt x="5630" y="4302"/>
                    </a:lnTo>
                    <a:lnTo>
                      <a:pt x="5666" y="4296"/>
                    </a:lnTo>
                    <a:lnTo>
                      <a:pt x="5695" y="4280"/>
                    </a:lnTo>
                    <a:lnTo>
                      <a:pt x="5718" y="4257"/>
                    </a:lnTo>
                    <a:lnTo>
                      <a:pt x="5734" y="4228"/>
                    </a:lnTo>
                    <a:lnTo>
                      <a:pt x="5740" y="4193"/>
                    </a:lnTo>
                    <a:lnTo>
                      <a:pt x="5740" y="3880"/>
                    </a:lnTo>
                    <a:lnTo>
                      <a:pt x="5215" y="3880"/>
                    </a:lnTo>
                    <a:close/>
                    <a:moveTo>
                      <a:pt x="4496" y="3880"/>
                    </a:moveTo>
                    <a:lnTo>
                      <a:pt x="4496" y="4193"/>
                    </a:lnTo>
                    <a:lnTo>
                      <a:pt x="4502" y="4228"/>
                    </a:lnTo>
                    <a:lnTo>
                      <a:pt x="4518" y="4257"/>
                    </a:lnTo>
                    <a:lnTo>
                      <a:pt x="4541" y="4280"/>
                    </a:lnTo>
                    <a:lnTo>
                      <a:pt x="4572" y="4296"/>
                    </a:lnTo>
                    <a:lnTo>
                      <a:pt x="4606" y="4302"/>
                    </a:lnTo>
                    <a:lnTo>
                      <a:pt x="5021" y="4302"/>
                    </a:lnTo>
                    <a:lnTo>
                      <a:pt x="5021" y="3880"/>
                    </a:lnTo>
                    <a:lnTo>
                      <a:pt x="4496" y="3880"/>
                    </a:lnTo>
                    <a:close/>
                    <a:moveTo>
                      <a:pt x="2141" y="3880"/>
                    </a:moveTo>
                    <a:lnTo>
                      <a:pt x="2141" y="4397"/>
                    </a:lnTo>
                    <a:lnTo>
                      <a:pt x="2146" y="4446"/>
                    </a:lnTo>
                    <a:lnTo>
                      <a:pt x="2162" y="4491"/>
                    </a:lnTo>
                    <a:lnTo>
                      <a:pt x="2186" y="4529"/>
                    </a:lnTo>
                    <a:lnTo>
                      <a:pt x="2220" y="4561"/>
                    </a:lnTo>
                    <a:lnTo>
                      <a:pt x="2258" y="4587"/>
                    </a:lnTo>
                    <a:lnTo>
                      <a:pt x="2303" y="4603"/>
                    </a:lnTo>
                    <a:lnTo>
                      <a:pt x="2352" y="4608"/>
                    </a:lnTo>
                    <a:lnTo>
                      <a:pt x="3581" y="4608"/>
                    </a:lnTo>
                    <a:lnTo>
                      <a:pt x="3630" y="4603"/>
                    </a:lnTo>
                    <a:lnTo>
                      <a:pt x="3673" y="4587"/>
                    </a:lnTo>
                    <a:lnTo>
                      <a:pt x="3713" y="4561"/>
                    </a:lnTo>
                    <a:lnTo>
                      <a:pt x="3745" y="4529"/>
                    </a:lnTo>
                    <a:lnTo>
                      <a:pt x="3771" y="4491"/>
                    </a:lnTo>
                    <a:lnTo>
                      <a:pt x="3787" y="4446"/>
                    </a:lnTo>
                    <a:lnTo>
                      <a:pt x="3792" y="4397"/>
                    </a:lnTo>
                    <a:lnTo>
                      <a:pt x="3792" y="3880"/>
                    </a:lnTo>
                    <a:lnTo>
                      <a:pt x="2141" y="3880"/>
                    </a:lnTo>
                    <a:close/>
                    <a:moveTo>
                      <a:pt x="910" y="3880"/>
                    </a:moveTo>
                    <a:lnTo>
                      <a:pt x="910" y="4302"/>
                    </a:lnTo>
                    <a:lnTo>
                      <a:pt x="1327" y="4302"/>
                    </a:lnTo>
                    <a:lnTo>
                      <a:pt x="1361" y="4296"/>
                    </a:lnTo>
                    <a:lnTo>
                      <a:pt x="1392" y="4280"/>
                    </a:lnTo>
                    <a:lnTo>
                      <a:pt x="1415" y="4257"/>
                    </a:lnTo>
                    <a:lnTo>
                      <a:pt x="1430" y="4228"/>
                    </a:lnTo>
                    <a:lnTo>
                      <a:pt x="1435" y="4193"/>
                    </a:lnTo>
                    <a:lnTo>
                      <a:pt x="1435" y="3880"/>
                    </a:lnTo>
                    <a:lnTo>
                      <a:pt x="910" y="3880"/>
                    </a:lnTo>
                    <a:close/>
                    <a:moveTo>
                      <a:pt x="193" y="3880"/>
                    </a:moveTo>
                    <a:lnTo>
                      <a:pt x="193" y="4193"/>
                    </a:lnTo>
                    <a:lnTo>
                      <a:pt x="199" y="4228"/>
                    </a:lnTo>
                    <a:lnTo>
                      <a:pt x="215" y="4257"/>
                    </a:lnTo>
                    <a:lnTo>
                      <a:pt x="238" y="4280"/>
                    </a:lnTo>
                    <a:lnTo>
                      <a:pt x="267" y="4296"/>
                    </a:lnTo>
                    <a:lnTo>
                      <a:pt x="302" y="4302"/>
                    </a:lnTo>
                    <a:lnTo>
                      <a:pt x="719" y="4302"/>
                    </a:lnTo>
                    <a:lnTo>
                      <a:pt x="719" y="3880"/>
                    </a:lnTo>
                    <a:lnTo>
                      <a:pt x="193" y="3880"/>
                    </a:lnTo>
                    <a:close/>
                    <a:moveTo>
                      <a:pt x="5215" y="3265"/>
                    </a:moveTo>
                    <a:lnTo>
                      <a:pt x="5215" y="3687"/>
                    </a:lnTo>
                    <a:lnTo>
                      <a:pt x="5740" y="3687"/>
                    </a:lnTo>
                    <a:lnTo>
                      <a:pt x="5740" y="3265"/>
                    </a:lnTo>
                    <a:lnTo>
                      <a:pt x="5215" y="3265"/>
                    </a:lnTo>
                    <a:close/>
                    <a:moveTo>
                      <a:pt x="4496" y="3265"/>
                    </a:moveTo>
                    <a:lnTo>
                      <a:pt x="4496" y="3687"/>
                    </a:lnTo>
                    <a:lnTo>
                      <a:pt x="5021" y="3687"/>
                    </a:lnTo>
                    <a:lnTo>
                      <a:pt x="5021" y="3265"/>
                    </a:lnTo>
                    <a:lnTo>
                      <a:pt x="4496" y="3265"/>
                    </a:lnTo>
                    <a:close/>
                    <a:moveTo>
                      <a:pt x="2141" y="3265"/>
                    </a:moveTo>
                    <a:lnTo>
                      <a:pt x="2141" y="3687"/>
                    </a:lnTo>
                    <a:lnTo>
                      <a:pt x="3792" y="3687"/>
                    </a:lnTo>
                    <a:lnTo>
                      <a:pt x="3792" y="3265"/>
                    </a:lnTo>
                    <a:lnTo>
                      <a:pt x="2141" y="3265"/>
                    </a:lnTo>
                    <a:close/>
                    <a:moveTo>
                      <a:pt x="910" y="3265"/>
                    </a:moveTo>
                    <a:lnTo>
                      <a:pt x="910" y="3687"/>
                    </a:lnTo>
                    <a:lnTo>
                      <a:pt x="1435" y="3687"/>
                    </a:lnTo>
                    <a:lnTo>
                      <a:pt x="1435" y="3265"/>
                    </a:lnTo>
                    <a:lnTo>
                      <a:pt x="910" y="3265"/>
                    </a:lnTo>
                    <a:close/>
                    <a:moveTo>
                      <a:pt x="193" y="3265"/>
                    </a:moveTo>
                    <a:lnTo>
                      <a:pt x="193" y="3687"/>
                    </a:lnTo>
                    <a:lnTo>
                      <a:pt x="719" y="3687"/>
                    </a:lnTo>
                    <a:lnTo>
                      <a:pt x="719" y="3265"/>
                    </a:lnTo>
                    <a:lnTo>
                      <a:pt x="193" y="3265"/>
                    </a:lnTo>
                    <a:close/>
                    <a:moveTo>
                      <a:pt x="3985" y="2958"/>
                    </a:moveTo>
                    <a:lnTo>
                      <a:pt x="3985" y="3380"/>
                    </a:lnTo>
                    <a:lnTo>
                      <a:pt x="4305" y="3380"/>
                    </a:lnTo>
                    <a:lnTo>
                      <a:pt x="4305" y="2958"/>
                    </a:lnTo>
                    <a:lnTo>
                      <a:pt x="3985" y="2958"/>
                    </a:lnTo>
                    <a:close/>
                    <a:moveTo>
                      <a:pt x="1628" y="2958"/>
                    </a:moveTo>
                    <a:lnTo>
                      <a:pt x="1628" y="3380"/>
                    </a:lnTo>
                    <a:lnTo>
                      <a:pt x="1948" y="3380"/>
                    </a:lnTo>
                    <a:lnTo>
                      <a:pt x="1948" y="2958"/>
                    </a:lnTo>
                    <a:lnTo>
                      <a:pt x="1628" y="2958"/>
                    </a:lnTo>
                    <a:close/>
                    <a:moveTo>
                      <a:pt x="5215" y="2650"/>
                    </a:moveTo>
                    <a:lnTo>
                      <a:pt x="5215" y="3073"/>
                    </a:lnTo>
                    <a:lnTo>
                      <a:pt x="5740" y="3073"/>
                    </a:lnTo>
                    <a:lnTo>
                      <a:pt x="5740" y="2650"/>
                    </a:lnTo>
                    <a:lnTo>
                      <a:pt x="5215" y="2650"/>
                    </a:lnTo>
                    <a:close/>
                    <a:moveTo>
                      <a:pt x="4496" y="2650"/>
                    </a:moveTo>
                    <a:lnTo>
                      <a:pt x="4496" y="3073"/>
                    </a:lnTo>
                    <a:lnTo>
                      <a:pt x="5021" y="3073"/>
                    </a:lnTo>
                    <a:lnTo>
                      <a:pt x="5021" y="2650"/>
                    </a:lnTo>
                    <a:lnTo>
                      <a:pt x="4496" y="2650"/>
                    </a:lnTo>
                    <a:close/>
                    <a:moveTo>
                      <a:pt x="910" y="2650"/>
                    </a:moveTo>
                    <a:lnTo>
                      <a:pt x="910" y="3073"/>
                    </a:lnTo>
                    <a:lnTo>
                      <a:pt x="1435" y="3073"/>
                    </a:lnTo>
                    <a:lnTo>
                      <a:pt x="1435" y="2650"/>
                    </a:lnTo>
                    <a:lnTo>
                      <a:pt x="910" y="2650"/>
                    </a:lnTo>
                    <a:close/>
                    <a:moveTo>
                      <a:pt x="193" y="2650"/>
                    </a:moveTo>
                    <a:lnTo>
                      <a:pt x="193" y="3073"/>
                    </a:lnTo>
                    <a:lnTo>
                      <a:pt x="719" y="3073"/>
                    </a:lnTo>
                    <a:lnTo>
                      <a:pt x="719" y="2650"/>
                    </a:lnTo>
                    <a:lnTo>
                      <a:pt x="193" y="2650"/>
                    </a:lnTo>
                    <a:close/>
                    <a:moveTo>
                      <a:pt x="2141" y="2446"/>
                    </a:moveTo>
                    <a:lnTo>
                      <a:pt x="2141" y="3073"/>
                    </a:lnTo>
                    <a:lnTo>
                      <a:pt x="3792" y="3073"/>
                    </a:lnTo>
                    <a:lnTo>
                      <a:pt x="3792" y="2446"/>
                    </a:lnTo>
                    <a:lnTo>
                      <a:pt x="2141" y="2446"/>
                    </a:lnTo>
                    <a:close/>
                    <a:moveTo>
                      <a:pt x="5215" y="2036"/>
                    </a:moveTo>
                    <a:lnTo>
                      <a:pt x="5215" y="2458"/>
                    </a:lnTo>
                    <a:lnTo>
                      <a:pt x="5740" y="2458"/>
                    </a:lnTo>
                    <a:lnTo>
                      <a:pt x="5740" y="2145"/>
                    </a:lnTo>
                    <a:lnTo>
                      <a:pt x="5734" y="2110"/>
                    </a:lnTo>
                    <a:lnTo>
                      <a:pt x="5718" y="2080"/>
                    </a:lnTo>
                    <a:lnTo>
                      <a:pt x="5695" y="2056"/>
                    </a:lnTo>
                    <a:lnTo>
                      <a:pt x="5666" y="2042"/>
                    </a:lnTo>
                    <a:lnTo>
                      <a:pt x="5630" y="2036"/>
                    </a:lnTo>
                    <a:lnTo>
                      <a:pt x="5215" y="2036"/>
                    </a:lnTo>
                    <a:close/>
                    <a:moveTo>
                      <a:pt x="4606" y="2036"/>
                    </a:moveTo>
                    <a:lnTo>
                      <a:pt x="4572" y="2042"/>
                    </a:lnTo>
                    <a:lnTo>
                      <a:pt x="4541" y="2056"/>
                    </a:lnTo>
                    <a:lnTo>
                      <a:pt x="4518" y="2080"/>
                    </a:lnTo>
                    <a:lnTo>
                      <a:pt x="4502" y="2110"/>
                    </a:lnTo>
                    <a:lnTo>
                      <a:pt x="4496" y="2145"/>
                    </a:lnTo>
                    <a:lnTo>
                      <a:pt x="4496" y="2458"/>
                    </a:lnTo>
                    <a:lnTo>
                      <a:pt x="5021" y="2458"/>
                    </a:lnTo>
                    <a:lnTo>
                      <a:pt x="5021" y="2036"/>
                    </a:lnTo>
                    <a:lnTo>
                      <a:pt x="4606" y="2036"/>
                    </a:lnTo>
                    <a:close/>
                    <a:moveTo>
                      <a:pt x="2345" y="2036"/>
                    </a:moveTo>
                    <a:lnTo>
                      <a:pt x="2345" y="2253"/>
                    </a:lnTo>
                    <a:lnTo>
                      <a:pt x="3588" y="2253"/>
                    </a:lnTo>
                    <a:lnTo>
                      <a:pt x="3588" y="2036"/>
                    </a:lnTo>
                    <a:lnTo>
                      <a:pt x="2498" y="2036"/>
                    </a:lnTo>
                    <a:lnTo>
                      <a:pt x="2498" y="2036"/>
                    </a:lnTo>
                    <a:lnTo>
                      <a:pt x="2498" y="2036"/>
                    </a:lnTo>
                    <a:lnTo>
                      <a:pt x="2345" y="2036"/>
                    </a:lnTo>
                    <a:close/>
                    <a:moveTo>
                      <a:pt x="910" y="2036"/>
                    </a:moveTo>
                    <a:lnTo>
                      <a:pt x="910" y="2458"/>
                    </a:lnTo>
                    <a:lnTo>
                      <a:pt x="1435" y="2458"/>
                    </a:lnTo>
                    <a:lnTo>
                      <a:pt x="1435" y="2145"/>
                    </a:lnTo>
                    <a:lnTo>
                      <a:pt x="1430" y="2110"/>
                    </a:lnTo>
                    <a:lnTo>
                      <a:pt x="1415" y="2080"/>
                    </a:lnTo>
                    <a:lnTo>
                      <a:pt x="1392" y="2056"/>
                    </a:lnTo>
                    <a:lnTo>
                      <a:pt x="1361" y="2042"/>
                    </a:lnTo>
                    <a:lnTo>
                      <a:pt x="1327" y="2036"/>
                    </a:lnTo>
                    <a:lnTo>
                      <a:pt x="910" y="2036"/>
                    </a:lnTo>
                    <a:close/>
                    <a:moveTo>
                      <a:pt x="302" y="2036"/>
                    </a:moveTo>
                    <a:lnTo>
                      <a:pt x="267" y="2042"/>
                    </a:lnTo>
                    <a:lnTo>
                      <a:pt x="238" y="2056"/>
                    </a:lnTo>
                    <a:lnTo>
                      <a:pt x="215" y="2080"/>
                    </a:lnTo>
                    <a:lnTo>
                      <a:pt x="199" y="2110"/>
                    </a:lnTo>
                    <a:lnTo>
                      <a:pt x="193" y="2145"/>
                    </a:lnTo>
                    <a:lnTo>
                      <a:pt x="193" y="2458"/>
                    </a:lnTo>
                    <a:lnTo>
                      <a:pt x="719" y="2458"/>
                    </a:lnTo>
                    <a:lnTo>
                      <a:pt x="719" y="2036"/>
                    </a:lnTo>
                    <a:lnTo>
                      <a:pt x="302" y="2036"/>
                    </a:lnTo>
                    <a:close/>
                    <a:moveTo>
                      <a:pt x="1940" y="1012"/>
                    </a:moveTo>
                    <a:lnTo>
                      <a:pt x="1953" y="1107"/>
                    </a:lnTo>
                    <a:lnTo>
                      <a:pt x="1977" y="1201"/>
                    </a:lnTo>
                    <a:lnTo>
                      <a:pt x="2007" y="1293"/>
                    </a:lnTo>
                    <a:lnTo>
                      <a:pt x="2047" y="1380"/>
                    </a:lnTo>
                    <a:lnTo>
                      <a:pt x="2094" y="1463"/>
                    </a:lnTo>
                    <a:lnTo>
                      <a:pt x="2148" y="1540"/>
                    </a:lnTo>
                    <a:lnTo>
                      <a:pt x="2209" y="1614"/>
                    </a:lnTo>
                    <a:lnTo>
                      <a:pt x="2278" y="1681"/>
                    </a:lnTo>
                    <a:lnTo>
                      <a:pt x="2354" y="1742"/>
                    </a:lnTo>
                    <a:lnTo>
                      <a:pt x="2433" y="1796"/>
                    </a:lnTo>
                    <a:lnTo>
                      <a:pt x="2520" y="1843"/>
                    </a:lnTo>
                    <a:lnTo>
                      <a:pt x="3411" y="1843"/>
                    </a:lnTo>
                    <a:lnTo>
                      <a:pt x="3498" y="1796"/>
                    </a:lnTo>
                    <a:lnTo>
                      <a:pt x="3579" y="1742"/>
                    </a:lnTo>
                    <a:lnTo>
                      <a:pt x="3653" y="1681"/>
                    </a:lnTo>
                    <a:lnTo>
                      <a:pt x="3722" y="1614"/>
                    </a:lnTo>
                    <a:lnTo>
                      <a:pt x="3783" y="1540"/>
                    </a:lnTo>
                    <a:lnTo>
                      <a:pt x="3839" y="1463"/>
                    </a:lnTo>
                    <a:lnTo>
                      <a:pt x="3886" y="1380"/>
                    </a:lnTo>
                    <a:lnTo>
                      <a:pt x="3926" y="1291"/>
                    </a:lnTo>
                    <a:lnTo>
                      <a:pt x="3957" y="1201"/>
                    </a:lnTo>
                    <a:lnTo>
                      <a:pt x="3978" y="1107"/>
                    </a:lnTo>
                    <a:lnTo>
                      <a:pt x="3993" y="1012"/>
                    </a:lnTo>
                    <a:lnTo>
                      <a:pt x="1940" y="1012"/>
                    </a:lnTo>
                    <a:close/>
                    <a:moveTo>
                      <a:pt x="2966" y="539"/>
                    </a:moveTo>
                    <a:lnTo>
                      <a:pt x="2686" y="821"/>
                    </a:lnTo>
                    <a:lnTo>
                      <a:pt x="3247" y="821"/>
                    </a:lnTo>
                    <a:lnTo>
                      <a:pt x="2966" y="539"/>
                    </a:lnTo>
                    <a:close/>
                    <a:moveTo>
                      <a:pt x="2966" y="0"/>
                    </a:moveTo>
                    <a:lnTo>
                      <a:pt x="2996" y="5"/>
                    </a:lnTo>
                    <a:lnTo>
                      <a:pt x="3023" y="20"/>
                    </a:lnTo>
                    <a:lnTo>
                      <a:pt x="3043" y="40"/>
                    </a:lnTo>
                    <a:lnTo>
                      <a:pt x="3058" y="67"/>
                    </a:lnTo>
                    <a:lnTo>
                      <a:pt x="3063" y="97"/>
                    </a:lnTo>
                    <a:lnTo>
                      <a:pt x="3063" y="364"/>
                    </a:lnTo>
                    <a:lnTo>
                      <a:pt x="3518" y="821"/>
                    </a:lnTo>
                    <a:lnTo>
                      <a:pt x="4094" y="821"/>
                    </a:lnTo>
                    <a:lnTo>
                      <a:pt x="4124" y="824"/>
                    </a:lnTo>
                    <a:lnTo>
                      <a:pt x="4150" y="839"/>
                    </a:lnTo>
                    <a:lnTo>
                      <a:pt x="4171" y="859"/>
                    </a:lnTo>
                    <a:lnTo>
                      <a:pt x="4184" y="886"/>
                    </a:lnTo>
                    <a:lnTo>
                      <a:pt x="4189" y="916"/>
                    </a:lnTo>
                    <a:lnTo>
                      <a:pt x="4184" y="1026"/>
                    </a:lnTo>
                    <a:lnTo>
                      <a:pt x="4170" y="1136"/>
                    </a:lnTo>
                    <a:lnTo>
                      <a:pt x="4144" y="1243"/>
                    </a:lnTo>
                    <a:lnTo>
                      <a:pt x="4110" y="1346"/>
                    </a:lnTo>
                    <a:lnTo>
                      <a:pt x="4067" y="1447"/>
                    </a:lnTo>
                    <a:lnTo>
                      <a:pt x="4016" y="1542"/>
                    </a:lnTo>
                    <a:lnTo>
                      <a:pt x="3955" y="1632"/>
                    </a:lnTo>
                    <a:lnTo>
                      <a:pt x="3888" y="1717"/>
                    </a:lnTo>
                    <a:lnTo>
                      <a:pt x="3812" y="1796"/>
                    </a:lnTo>
                    <a:lnTo>
                      <a:pt x="3731" y="1869"/>
                    </a:lnTo>
                    <a:lnTo>
                      <a:pt x="3751" y="1887"/>
                    </a:lnTo>
                    <a:lnTo>
                      <a:pt x="3767" y="1910"/>
                    </a:lnTo>
                    <a:lnTo>
                      <a:pt x="3776" y="1937"/>
                    </a:lnTo>
                    <a:lnTo>
                      <a:pt x="3780" y="1966"/>
                    </a:lnTo>
                    <a:lnTo>
                      <a:pt x="3780" y="2253"/>
                    </a:lnTo>
                    <a:lnTo>
                      <a:pt x="3888" y="2253"/>
                    </a:lnTo>
                    <a:lnTo>
                      <a:pt x="3919" y="2258"/>
                    </a:lnTo>
                    <a:lnTo>
                      <a:pt x="3946" y="2273"/>
                    </a:lnTo>
                    <a:lnTo>
                      <a:pt x="3966" y="2292"/>
                    </a:lnTo>
                    <a:lnTo>
                      <a:pt x="3980" y="2319"/>
                    </a:lnTo>
                    <a:lnTo>
                      <a:pt x="3985" y="2350"/>
                    </a:lnTo>
                    <a:lnTo>
                      <a:pt x="3985" y="2765"/>
                    </a:lnTo>
                    <a:lnTo>
                      <a:pt x="4305" y="2765"/>
                    </a:lnTo>
                    <a:lnTo>
                      <a:pt x="4305" y="2145"/>
                    </a:lnTo>
                    <a:lnTo>
                      <a:pt x="4310" y="2090"/>
                    </a:lnTo>
                    <a:lnTo>
                      <a:pt x="4323" y="2040"/>
                    </a:lnTo>
                    <a:lnTo>
                      <a:pt x="4346" y="1993"/>
                    </a:lnTo>
                    <a:lnTo>
                      <a:pt x="4375" y="1952"/>
                    </a:lnTo>
                    <a:lnTo>
                      <a:pt x="4411" y="1915"/>
                    </a:lnTo>
                    <a:lnTo>
                      <a:pt x="4455" y="1885"/>
                    </a:lnTo>
                    <a:lnTo>
                      <a:pt x="4502" y="1863"/>
                    </a:lnTo>
                    <a:lnTo>
                      <a:pt x="4552" y="1849"/>
                    </a:lnTo>
                    <a:lnTo>
                      <a:pt x="4606" y="1843"/>
                    </a:lnTo>
                    <a:lnTo>
                      <a:pt x="5630" y="1843"/>
                    </a:lnTo>
                    <a:lnTo>
                      <a:pt x="5684" y="1849"/>
                    </a:lnTo>
                    <a:lnTo>
                      <a:pt x="5736" y="1863"/>
                    </a:lnTo>
                    <a:lnTo>
                      <a:pt x="5783" y="1885"/>
                    </a:lnTo>
                    <a:lnTo>
                      <a:pt x="5825" y="1915"/>
                    </a:lnTo>
                    <a:lnTo>
                      <a:pt x="5861" y="1952"/>
                    </a:lnTo>
                    <a:lnTo>
                      <a:pt x="5890" y="1993"/>
                    </a:lnTo>
                    <a:lnTo>
                      <a:pt x="5913" y="2040"/>
                    </a:lnTo>
                    <a:lnTo>
                      <a:pt x="5928" y="2090"/>
                    </a:lnTo>
                    <a:lnTo>
                      <a:pt x="5931" y="2145"/>
                    </a:lnTo>
                    <a:lnTo>
                      <a:pt x="5931" y="4193"/>
                    </a:lnTo>
                    <a:lnTo>
                      <a:pt x="5928" y="4246"/>
                    </a:lnTo>
                    <a:lnTo>
                      <a:pt x="5913" y="4298"/>
                    </a:lnTo>
                    <a:lnTo>
                      <a:pt x="5890" y="4345"/>
                    </a:lnTo>
                    <a:lnTo>
                      <a:pt x="5861" y="4386"/>
                    </a:lnTo>
                    <a:lnTo>
                      <a:pt x="5825" y="4423"/>
                    </a:lnTo>
                    <a:lnTo>
                      <a:pt x="5783" y="4451"/>
                    </a:lnTo>
                    <a:lnTo>
                      <a:pt x="5736" y="4475"/>
                    </a:lnTo>
                    <a:lnTo>
                      <a:pt x="5684" y="4489"/>
                    </a:lnTo>
                    <a:lnTo>
                      <a:pt x="5630" y="4493"/>
                    </a:lnTo>
                    <a:lnTo>
                      <a:pt x="4606" y="4493"/>
                    </a:lnTo>
                    <a:lnTo>
                      <a:pt x="4552" y="4489"/>
                    </a:lnTo>
                    <a:lnTo>
                      <a:pt x="4502" y="4475"/>
                    </a:lnTo>
                    <a:lnTo>
                      <a:pt x="4455" y="4451"/>
                    </a:lnTo>
                    <a:lnTo>
                      <a:pt x="4411" y="4423"/>
                    </a:lnTo>
                    <a:lnTo>
                      <a:pt x="4375" y="4386"/>
                    </a:lnTo>
                    <a:lnTo>
                      <a:pt x="4346" y="4345"/>
                    </a:lnTo>
                    <a:lnTo>
                      <a:pt x="4323" y="4298"/>
                    </a:lnTo>
                    <a:lnTo>
                      <a:pt x="4310" y="4246"/>
                    </a:lnTo>
                    <a:lnTo>
                      <a:pt x="4305" y="4193"/>
                    </a:lnTo>
                    <a:lnTo>
                      <a:pt x="4305" y="3571"/>
                    </a:lnTo>
                    <a:lnTo>
                      <a:pt x="3985" y="3571"/>
                    </a:lnTo>
                    <a:lnTo>
                      <a:pt x="3985" y="4397"/>
                    </a:lnTo>
                    <a:lnTo>
                      <a:pt x="3980" y="4462"/>
                    </a:lnTo>
                    <a:lnTo>
                      <a:pt x="3964" y="4525"/>
                    </a:lnTo>
                    <a:lnTo>
                      <a:pt x="3940" y="4583"/>
                    </a:lnTo>
                    <a:lnTo>
                      <a:pt x="3906" y="4635"/>
                    </a:lnTo>
                    <a:lnTo>
                      <a:pt x="3866" y="4682"/>
                    </a:lnTo>
                    <a:lnTo>
                      <a:pt x="3819" y="4722"/>
                    </a:lnTo>
                    <a:lnTo>
                      <a:pt x="3767" y="4756"/>
                    </a:lnTo>
                    <a:lnTo>
                      <a:pt x="3709" y="4780"/>
                    </a:lnTo>
                    <a:lnTo>
                      <a:pt x="3646" y="4796"/>
                    </a:lnTo>
                    <a:lnTo>
                      <a:pt x="3581" y="4801"/>
                    </a:lnTo>
                    <a:lnTo>
                      <a:pt x="3574" y="4801"/>
                    </a:lnTo>
                    <a:lnTo>
                      <a:pt x="3574" y="5525"/>
                    </a:lnTo>
                    <a:lnTo>
                      <a:pt x="3569" y="5589"/>
                    </a:lnTo>
                    <a:lnTo>
                      <a:pt x="3554" y="5651"/>
                    </a:lnTo>
                    <a:lnTo>
                      <a:pt x="3529" y="5709"/>
                    </a:lnTo>
                    <a:lnTo>
                      <a:pt x="3496" y="5763"/>
                    </a:lnTo>
                    <a:lnTo>
                      <a:pt x="3457" y="5810"/>
                    </a:lnTo>
                    <a:lnTo>
                      <a:pt x="3410" y="5849"/>
                    </a:lnTo>
                    <a:lnTo>
                      <a:pt x="3357" y="5882"/>
                    </a:lnTo>
                    <a:lnTo>
                      <a:pt x="3298" y="5907"/>
                    </a:lnTo>
                    <a:lnTo>
                      <a:pt x="3236" y="5921"/>
                    </a:lnTo>
                    <a:lnTo>
                      <a:pt x="3171" y="5927"/>
                    </a:lnTo>
                    <a:lnTo>
                      <a:pt x="2762" y="5927"/>
                    </a:lnTo>
                    <a:lnTo>
                      <a:pt x="2697" y="5921"/>
                    </a:lnTo>
                    <a:lnTo>
                      <a:pt x="2634" y="5907"/>
                    </a:lnTo>
                    <a:lnTo>
                      <a:pt x="2576" y="5882"/>
                    </a:lnTo>
                    <a:lnTo>
                      <a:pt x="2523" y="5849"/>
                    </a:lnTo>
                    <a:lnTo>
                      <a:pt x="2477" y="5810"/>
                    </a:lnTo>
                    <a:lnTo>
                      <a:pt x="2435" y="5763"/>
                    </a:lnTo>
                    <a:lnTo>
                      <a:pt x="2403" y="5709"/>
                    </a:lnTo>
                    <a:lnTo>
                      <a:pt x="2379" y="5651"/>
                    </a:lnTo>
                    <a:lnTo>
                      <a:pt x="2363" y="5589"/>
                    </a:lnTo>
                    <a:lnTo>
                      <a:pt x="2357" y="5525"/>
                    </a:lnTo>
                    <a:lnTo>
                      <a:pt x="2357" y="4801"/>
                    </a:lnTo>
                    <a:lnTo>
                      <a:pt x="2352" y="4801"/>
                    </a:lnTo>
                    <a:lnTo>
                      <a:pt x="2285" y="4796"/>
                    </a:lnTo>
                    <a:lnTo>
                      <a:pt x="2224" y="4780"/>
                    </a:lnTo>
                    <a:lnTo>
                      <a:pt x="2166" y="4756"/>
                    </a:lnTo>
                    <a:lnTo>
                      <a:pt x="2114" y="4722"/>
                    </a:lnTo>
                    <a:lnTo>
                      <a:pt x="2067" y="4682"/>
                    </a:lnTo>
                    <a:lnTo>
                      <a:pt x="2025" y="4635"/>
                    </a:lnTo>
                    <a:lnTo>
                      <a:pt x="1993" y="4583"/>
                    </a:lnTo>
                    <a:lnTo>
                      <a:pt x="1969" y="4525"/>
                    </a:lnTo>
                    <a:lnTo>
                      <a:pt x="1953" y="4462"/>
                    </a:lnTo>
                    <a:lnTo>
                      <a:pt x="1948" y="4397"/>
                    </a:lnTo>
                    <a:lnTo>
                      <a:pt x="1948" y="3571"/>
                    </a:lnTo>
                    <a:lnTo>
                      <a:pt x="1628" y="3571"/>
                    </a:lnTo>
                    <a:lnTo>
                      <a:pt x="1628" y="4193"/>
                    </a:lnTo>
                    <a:lnTo>
                      <a:pt x="1623" y="4246"/>
                    </a:lnTo>
                    <a:lnTo>
                      <a:pt x="1608" y="4298"/>
                    </a:lnTo>
                    <a:lnTo>
                      <a:pt x="1587" y="4345"/>
                    </a:lnTo>
                    <a:lnTo>
                      <a:pt x="1556" y="4386"/>
                    </a:lnTo>
                    <a:lnTo>
                      <a:pt x="1520" y="4423"/>
                    </a:lnTo>
                    <a:lnTo>
                      <a:pt x="1478" y="4451"/>
                    </a:lnTo>
                    <a:lnTo>
                      <a:pt x="1431" y="4475"/>
                    </a:lnTo>
                    <a:lnTo>
                      <a:pt x="1381" y="4489"/>
                    </a:lnTo>
                    <a:lnTo>
                      <a:pt x="1327" y="4493"/>
                    </a:lnTo>
                    <a:lnTo>
                      <a:pt x="302" y="4493"/>
                    </a:lnTo>
                    <a:lnTo>
                      <a:pt x="247" y="4489"/>
                    </a:lnTo>
                    <a:lnTo>
                      <a:pt x="197" y="4475"/>
                    </a:lnTo>
                    <a:lnTo>
                      <a:pt x="150" y="4451"/>
                    </a:lnTo>
                    <a:lnTo>
                      <a:pt x="108" y="4423"/>
                    </a:lnTo>
                    <a:lnTo>
                      <a:pt x="72" y="4386"/>
                    </a:lnTo>
                    <a:lnTo>
                      <a:pt x="42" y="4345"/>
                    </a:lnTo>
                    <a:lnTo>
                      <a:pt x="20" y="4298"/>
                    </a:lnTo>
                    <a:lnTo>
                      <a:pt x="6" y="4246"/>
                    </a:lnTo>
                    <a:lnTo>
                      <a:pt x="0" y="4193"/>
                    </a:lnTo>
                    <a:lnTo>
                      <a:pt x="0" y="2145"/>
                    </a:lnTo>
                    <a:lnTo>
                      <a:pt x="6" y="2090"/>
                    </a:lnTo>
                    <a:lnTo>
                      <a:pt x="20" y="2040"/>
                    </a:lnTo>
                    <a:lnTo>
                      <a:pt x="42" y="1993"/>
                    </a:lnTo>
                    <a:lnTo>
                      <a:pt x="72" y="1952"/>
                    </a:lnTo>
                    <a:lnTo>
                      <a:pt x="108" y="1915"/>
                    </a:lnTo>
                    <a:lnTo>
                      <a:pt x="150" y="1885"/>
                    </a:lnTo>
                    <a:lnTo>
                      <a:pt x="197" y="1863"/>
                    </a:lnTo>
                    <a:lnTo>
                      <a:pt x="247" y="1849"/>
                    </a:lnTo>
                    <a:lnTo>
                      <a:pt x="302" y="1843"/>
                    </a:lnTo>
                    <a:lnTo>
                      <a:pt x="1327" y="1843"/>
                    </a:lnTo>
                    <a:lnTo>
                      <a:pt x="1381" y="1849"/>
                    </a:lnTo>
                    <a:lnTo>
                      <a:pt x="1431" y="1863"/>
                    </a:lnTo>
                    <a:lnTo>
                      <a:pt x="1478" y="1885"/>
                    </a:lnTo>
                    <a:lnTo>
                      <a:pt x="1520" y="1915"/>
                    </a:lnTo>
                    <a:lnTo>
                      <a:pt x="1556" y="1952"/>
                    </a:lnTo>
                    <a:lnTo>
                      <a:pt x="1587" y="1993"/>
                    </a:lnTo>
                    <a:lnTo>
                      <a:pt x="1608" y="2040"/>
                    </a:lnTo>
                    <a:lnTo>
                      <a:pt x="1623" y="2090"/>
                    </a:lnTo>
                    <a:lnTo>
                      <a:pt x="1628" y="2145"/>
                    </a:lnTo>
                    <a:lnTo>
                      <a:pt x="1628" y="2765"/>
                    </a:lnTo>
                    <a:lnTo>
                      <a:pt x="1948" y="2765"/>
                    </a:lnTo>
                    <a:lnTo>
                      <a:pt x="1948" y="2350"/>
                    </a:lnTo>
                    <a:lnTo>
                      <a:pt x="1953" y="2319"/>
                    </a:lnTo>
                    <a:lnTo>
                      <a:pt x="1966" y="2292"/>
                    </a:lnTo>
                    <a:lnTo>
                      <a:pt x="1987" y="2273"/>
                    </a:lnTo>
                    <a:lnTo>
                      <a:pt x="2014" y="2258"/>
                    </a:lnTo>
                    <a:lnTo>
                      <a:pt x="2043" y="2253"/>
                    </a:lnTo>
                    <a:lnTo>
                      <a:pt x="2153" y="2253"/>
                    </a:lnTo>
                    <a:lnTo>
                      <a:pt x="2153" y="1966"/>
                    </a:lnTo>
                    <a:lnTo>
                      <a:pt x="2157" y="1937"/>
                    </a:lnTo>
                    <a:lnTo>
                      <a:pt x="2166" y="1910"/>
                    </a:lnTo>
                    <a:lnTo>
                      <a:pt x="2182" y="1887"/>
                    </a:lnTo>
                    <a:lnTo>
                      <a:pt x="2202" y="1869"/>
                    </a:lnTo>
                    <a:lnTo>
                      <a:pt x="2119" y="1796"/>
                    </a:lnTo>
                    <a:lnTo>
                      <a:pt x="2045" y="1717"/>
                    </a:lnTo>
                    <a:lnTo>
                      <a:pt x="1977" y="1632"/>
                    </a:lnTo>
                    <a:lnTo>
                      <a:pt x="1917" y="1542"/>
                    </a:lnTo>
                    <a:lnTo>
                      <a:pt x="1865" y="1447"/>
                    </a:lnTo>
                    <a:lnTo>
                      <a:pt x="1823" y="1347"/>
                    </a:lnTo>
                    <a:lnTo>
                      <a:pt x="1789" y="1243"/>
                    </a:lnTo>
                    <a:lnTo>
                      <a:pt x="1764" y="1136"/>
                    </a:lnTo>
                    <a:lnTo>
                      <a:pt x="1747" y="1028"/>
                    </a:lnTo>
                    <a:lnTo>
                      <a:pt x="1744" y="916"/>
                    </a:lnTo>
                    <a:lnTo>
                      <a:pt x="1747" y="886"/>
                    </a:lnTo>
                    <a:lnTo>
                      <a:pt x="1762" y="859"/>
                    </a:lnTo>
                    <a:lnTo>
                      <a:pt x="1782" y="839"/>
                    </a:lnTo>
                    <a:lnTo>
                      <a:pt x="1809" y="824"/>
                    </a:lnTo>
                    <a:lnTo>
                      <a:pt x="1839" y="821"/>
                    </a:lnTo>
                    <a:lnTo>
                      <a:pt x="2413" y="821"/>
                    </a:lnTo>
                    <a:lnTo>
                      <a:pt x="2870" y="364"/>
                    </a:lnTo>
                    <a:lnTo>
                      <a:pt x="2870" y="97"/>
                    </a:lnTo>
                    <a:lnTo>
                      <a:pt x="2875" y="67"/>
                    </a:lnTo>
                    <a:lnTo>
                      <a:pt x="2888" y="40"/>
                    </a:lnTo>
                    <a:lnTo>
                      <a:pt x="2910" y="20"/>
                    </a:lnTo>
                    <a:lnTo>
                      <a:pt x="2937" y="5"/>
                    </a:lnTo>
                    <a:lnTo>
                      <a:pt x="2966" y="0"/>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 name="Group 5"/>
          <p:cNvGrpSpPr/>
          <p:nvPr/>
        </p:nvGrpSpPr>
        <p:grpSpPr>
          <a:xfrm>
            <a:off x="930876" y="4044547"/>
            <a:ext cx="2174790" cy="1717589"/>
            <a:chOff x="930876" y="4044547"/>
            <a:chExt cx="2174790" cy="1717589"/>
          </a:xfrm>
        </p:grpSpPr>
        <p:sp>
          <p:nvSpPr>
            <p:cNvPr id="7" name="Rectangle 6"/>
            <p:cNvSpPr/>
            <p:nvPr/>
          </p:nvSpPr>
          <p:spPr>
            <a:xfrm>
              <a:off x="930876" y="4044547"/>
              <a:ext cx="2174790" cy="1717589"/>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marL="10795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3</a:t>
              </a:r>
            </a:p>
          </p:txBody>
        </p:sp>
        <p:grpSp>
          <p:nvGrpSpPr>
            <p:cNvPr id="29" name="Group 12"/>
            <p:cNvGrpSpPr>
              <a:grpSpLocks noChangeAspect="1"/>
            </p:cNvGrpSpPr>
            <p:nvPr/>
          </p:nvGrpSpPr>
          <p:grpSpPr bwMode="auto">
            <a:xfrm>
              <a:off x="2582548" y="5043174"/>
              <a:ext cx="124376" cy="61676"/>
              <a:chOff x="-379" y="1237"/>
              <a:chExt cx="607" cy="301"/>
            </a:xfrm>
            <a:solidFill>
              <a:schemeClr val="bg1"/>
            </a:solidFill>
          </p:grpSpPr>
          <p:sp>
            <p:nvSpPr>
              <p:cNvPr id="33" name="Freeform 15"/>
              <p:cNvSpPr>
                <a:spLocks/>
              </p:cNvSpPr>
              <p:nvPr/>
            </p:nvSpPr>
            <p:spPr bwMode="auto">
              <a:xfrm>
                <a:off x="-379" y="1237"/>
                <a:ext cx="96" cy="301"/>
              </a:xfrm>
              <a:custGeom>
                <a:avLst/>
                <a:gdLst>
                  <a:gd name="T0" fmla="*/ 96 w 193"/>
                  <a:gd name="T1" fmla="*/ 0 h 603"/>
                  <a:gd name="T2" fmla="*/ 126 w 193"/>
                  <a:gd name="T3" fmla="*/ 6 h 603"/>
                  <a:gd name="T4" fmla="*/ 153 w 193"/>
                  <a:gd name="T5" fmla="*/ 20 h 603"/>
                  <a:gd name="T6" fmla="*/ 173 w 193"/>
                  <a:gd name="T7" fmla="*/ 40 h 603"/>
                  <a:gd name="T8" fmla="*/ 188 w 193"/>
                  <a:gd name="T9" fmla="*/ 67 h 603"/>
                  <a:gd name="T10" fmla="*/ 193 w 193"/>
                  <a:gd name="T11" fmla="*/ 98 h 603"/>
                  <a:gd name="T12" fmla="*/ 193 w 193"/>
                  <a:gd name="T13" fmla="*/ 507 h 603"/>
                  <a:gd name="T14" fmla="*/ 188 w 193"/>
                  <a:gd name="T15" fmla="*/ 538 h 603"/>
                  <a:gd name="T16" fmla="*/ 173 w 193"/>
                  <a:gd name="T17" fmla="*/ 563 h 603"/>
                  <a:gd name="T18" fmla="*/ 153 w 193"/>
                  <a:gd name="T19" fmla="*/ 585 h 603"/>
                  <a:gd name="T20" fmla="*/ 126 w 193"/>
                  <a:gd name="T21" fmla="*/ 597 h 603"/>
                  <a:gd name="T22" fmla="*/ 96 w 193"/>
                  <a:gd name="T23" fmla="*/ 603 h 603"/>
                  <a:gd name="T24" fmla="*/ 67 w 193"/>
                  <a:gd name="T25" fmla="*/ 597 h 603"/>
                  <a:gd name="T26" fmla="*/ 40 w 193"/>
                  <a:gd name="T27" fmla="*/ 585 h 603"/>
                  <a:gd name="T28" fmla="*/ 18 w 193"/>
                  <a:gd name="T29" fmla="*/ 563 h 603"/>
                  <a:gd name="T30" fmla="*/ 6 w 193"/>
                  <a:gd name="T31" fmla="*/ 538 h 603"/>
                  <a:gd name="T32" fmla="*/ 0 w 193"/>
                  <a:gd name="T33" fmla="*/ 507 h 603"/>
                  <a:gd name="T34" fmla="*/ 0 w 193"/>
                  <a:gd name="T35" fmla="*/ 98 h 603"/>
                  <a:gd name="T36" fmla="*/ 6 w 193"/>
                  <a:gd name="T37" fmla="*/ 67 h 603"/>
                  <a:gd name="T38" fmla="*/ 18 w 193"/>
                  <a:gd name="T39" fmla="*/ 40 h 603"/>
                  <a:gd name="T40" fmla="*/ 40 w 193"/>
                  <a:gd name="T41" fmla="*/ 20 h 603"/>
                  <a:gd name="T42" fmla="*/ 67 w 193"/>
                  <a:gd name="T43" fmla="*/ 6 h 603"/>
                  <a:gd name="T44" fmla="*/ 96 w 193"/>
                  <a:gd name="T4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603">
                    <a:moveTo>
                      <a:pt x="96" y="0"/>
                    </a:moveTo>
                    <a:lnTo>
                      <a:pt x="126" y="6"/>
                    </a:lnTo>
                    <a:lnTo>
                      <a:pt x="153" y="20"/>
                    </a:lnTo>
                    <a:lnTo>
                      <a:pt x="173" y="40"/>
                    </a:lnTo>
                    <a:lnTo>
                      <a:pt x="188" y="67"/>
                    </a:lnTo>
                    <a:lnTo>
                      <a:pt x="193" y="98"/>
                    </a:lnTo>
                    <a:lnTo>
                      <a:pt x="193" y="507"/>
                    </a:lnTo>
                    <a:lnTo>
                      <a:pt x="188" y="538"/>
                    </a:lnTo>
                    <a:lnTo>
                      <a:pt x="173" y="563"/>
                    </a:lnTo>
                    <a:lnTo>
                      <a:pt x="153" y="585"/>
                    </a:lnTo>
                    <a:lnTo>
                      <a:pt x="126" y="597"/>
                    </a:lnTo>
                    <a:lnTo>
                      <a:pt x="96" y="603"/>
                    </a:lnTo>
                    <a:lnTo>
                      <a:pt x="67" y="597"/>
                    </a:lnTo>
                    <a:lnTo>
                      <a:pt x="40" y="585"/>
                    </a:lnTo>
                    <a:lnTo>
                      <a:pt x="18" y="563"/>
                    </a:lnTo>
                    <a:lnTo>
                      <a:pt x="6" y="538"/>
                    </a:lnTo>
                    <a:lnTo>
                      <a:pt x="0" y="507"/>
                    </a:lnTo>
                    <a:lnTo>
                      <a:pt x="0" y="98"/>
                    </a:lnTo>
                    <a:lnTo>
                      <a:pt x="6" y="67"/>
                    </a:lnTo>
                    <a:lnTo>
                      <a:pt x="18" y="40"/>
                    </a:lnTo>
                    <a:lnTo>
                      <a:pt x="40" y="20"/>
                    </a:lnTo>
                    <a:lnTo>
                      <a:pt x="67" y="6"/>
                    </a:lnTo>
                    <a:lnTo>
                      <a:pt x="96" y="0"/>
                    </a:lnTo>
                    <a:close/>
                  </a:path>
                </a:pathLst>
              </a:custGeom>
              <a:ln>
                <a:headEnd/>
                <a:tailEn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16"/>
              <p:cNvSpPr>
                <a:spLocks/>
              </p:cNvSpPr>
              <p:nvPr/>
            </p:nvSpPr>
            <p:spPr bwMode="auto">
              <a:xfrm>
                <a:off x="132" y="1237"/>
                <a:ext cx="96" cy="301"/>
              </a:xfrm>
              <a:custGeom>
                <a:avLst/>
                <a:gdLst>
                  <a:gd name="T0" fmla="*/ 95 w 191"/>
                  <a:gd name="T1" fmla="*/ 0 h 603"/>
                  <a:gd name="T2" fmla="*/ 126 w 191"/>
                  <a:gd name="T3" fmla="*/ 6 h 603"/>
                  <a:gd name="T4" fmla="*/ 153 w 191"/>
                  <a:gd name="T5" fmla="*/ 20 h 603"/>
                  <a:gd name="T6" fmla="*/ 173 w 191"/>
                  <a:gd name="T7" fmla="*/ 40 h 603"/>
                  <a:gd name="T8" fmla="*/ 187 w 191"/>
                  <a:gd name="T9" fmla="*/ 67 h 603"/>
                  <a:gd name="T10" fmla="*/ 191 w 191"/>
                  <a:gd name="T11" fmla="*/ 98 h 603"/>
                  <a:gd name="T12" fmla="*/ 191 w 191"/>
                  <a:gd name="T13" fmla="*/ 507 h 603"/>
                  <a:gd name="T14" fmla="*/ 187 w 191"/>
                  <a:gd name="T15" fmla="*/ 538 h 603"/>
                  <a:gd name="T16" fmla="*/ 173 w 191"/>
                  <a:gd name="T17" fmla="*/ 563 h 603"/>
                  <a:gd name="T18" fmla="*/ 153 w 191"/>
                  <a:gd name="T19" fmla="*/ 585 h 603"/>
                  <a:gd name="T20" fmla="*/ 126 w 191"/>
                  <a:gd name="T21" fmla="*/ 597 h 603"/>
                  <a:gd name="T22" fmla="*/ 95 w 191"/>
                  <a:gd name="T23" fmla="*/ 603 h 603"/>
                  <a:gd name="T24" fmla="*/ 64 w 191"/>
                  <a:gd name="T25" fmla="*/ 597 h 603"/>
                  <a:gd name="T26" fmla="*/ 39 w 191"/>
                  <a:gd name="T27" fmla="*/ 585 h 603"/>
                  <a:gd name="T28" fmla="*/ 18 w 191"/>
                  <a:gd name="T29" fmla="*/ 563 h 603"/>
                  <a:gd name="T30" fmla="*/ 5 w 191"/>
                  <a:gd name="T31" fmla="*/ 538 h 603"/>
                  <a:gd name="T32" fmla="*/ 0 w 191"/>
                  <a:gd name="T33" fmla="*/ 507 h 603"/>
                  <a:gd name="T34" fmla="*/ 0 w 191"/>
                  <a:gd name="T35" fmla="*/ 98 h 603"/>
                  <a:gd name="T36" fmla="*/ 5 w 191"/>
                  <a:gd name="T37" fmla="*/ 67 h 603"/>
                  <a:gd name="T38" fmla="*/ 18 w 191"/>
                  <a:gd name="T39" fmla="*/ 40 h 603"/>
                  <a:gd name="T40" fmla="*/ 39 w 191"/>
                  <a:gd name="T41" fmla="*/ 20 h 603"/>
                  <a:gd name="T42" fmla="*/ 64 w 191"/>
                  <a:gd name="T43" fmla="*/ 6 h 603"/>
                  <a:gd name="T44" fmla="*/ 95 w 191"/>
                  <a:gd name="T4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603">
                    <a:moveTo>
                      <a:pt x="95" y="0"/>
                    </a:moveTo>
                    <a:lnTo>
                      <a:pt x="126" y="6"/>
                    </a:lnTo>
                    <a:lnTo>
                      <a:pt x="153" y="20"/>
                    </a:lnTo>
                    <a:lnTo>
                      <a:pt x="173" y="40"/>
                    </a:lnTo>
                    <a:lnTo>
                      <a:pt x="187" y="67"/>
                    </a:lnTo>
                    <a:lnTo>
                      <a:pt x="191" y="98"/>
                    </a:lnTo>
                    <a:lnTo>
                      <a:pt x="191" y="507"/>
                    </a:lnTo>
                    <a:lnTo>
                      <a:pt x="187" y="538"/>
                    </a:lnTo>
                    <a:lnTo>
                      <a:pt x="173" y="563"/>
                    </a:lnTo>
                    <a:lnTo>
                      <a:pt x="153" y="585"/>
                    </a:lnTo>
                    <a:lnTo>
                      <a:pt x="126" y="597"/>
                    </a:lnTo>
                    <a:lnTo>
                      <a:pt x="95" y="603"/>
                    </a:lnTo>
                    <a:lnTo>
                      <a:pt x="64" y="597"/>
                    </a:lnTo>
                    <a:lnTo>
                      <a:pt x="39" y="585"/>
                    </a:lnTo>
                    <a:lnTo>
                      <a:pt x="18" y="563"/>
                    </a:lnTo>
                    <a:lnTo>
                      <a:pt x="5" y="538"/>
                    </a:lnTo>
                    <a:lnTo>
                      <a:pt x="0" y="507"/>
                    </a:lnTo>
                    <a:lnTo>
                      <a:pt x="0" y="98"/>
                    </a:lnTo>
                    <a:lnTo>
                      <a:pt x="5" y="67"/>
                    </a:lnTo>
                    <a:lnTo>
                      <a:pt x="18" y="40"/>
                    </a:lnTo>
                    <a:lnTo>
                      <a:pt x="39" y="20"/>
                    </a:lnTo>
                    <a:lnTo>
                      <a:pt x="64" y="6"/>
                    </a:lnTo>
                    <a:lnTo>
                      <a:pt x="95" y="0"/>
                    </a:lnTo>
                    <a:close/>
                  </a:path>
                </a:pathLst>
              </a:custGeom>
              <a:ln>
                <a:headEnd/>
                <a:tailEn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0" name="Group 9"/>
          <p:cNvGrpSpPr/>
          <p:nvPr/>
        </p:nvGrpSpPr>
        <p:grpSpPr>
          <a:xfrm>
            <a:off x="6380207" y="2092180"/>
            <a:ext cx="2174790" cy="1717589"/>
            <a:chOff x="6380207" y="2092180"/>
            <a:chExt cx="2174790" cy="1717589"/>
          </a:xfrm>
        </p:grpSpPr>
        <p:sp>
          <p:nvSpPr>
            <p:cNvPr id="11" name="Rectangle 10"/>
            <p:cNvSpPr/>
            <p:nvPr/>
          </p:nvSpPr>
          <p:spPr>
            <a:xfrm>
              <a:off x="6380207" y="2092180"/>
              <a:ext cx="2174790" cy="1717589"/>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10795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2</a:t>
              </a:r>
            </a:p>
          </p:txBody>
        </p:sp>
        <p:grpSp>
          <p:nvGrpSpPr>
            <p:cNvPr id="37" name="Group 20"/>
            <p:cNvGrpSpPr>
              <a:grpSpLocks noChangeAspect="1"/>
            </p:cNvGrpSpPr>
            <p:nvPr/>
          </p:nvGrpSpPr>
          <p:grpSpPr bwMode="auto">
            <a:xfrm>
              <a:off x="7921785" y="3092263"/>
              <a:ext cx="340408" cy="520808"/>
              <a:chOff x="2920" y="831"/>
              <a:chExt cx="1736" cy="2656"/>
            </a:xfrm>
            <a:solidFill>
              <a:schemeClr val="bg1"/>
            </a:solidFill>
          </p:grpSpPr>
          <p:sp>
            <p:nvSpPr>
              <p:cNvPr id="40" name="Freeform 22"/>
              <p:cNvSpPr>
                <a:spLocks/>
              </p:cNvSpPr>
              <p:nvPr/>
            </p:nvSpPr>
            <p:spPr bwMode="auto">
              <a:xfrm>
                <a:off x="2920" y="831"/>
                <a:ext cx="96" cy="249"/>
              </a:xfrm>
              <a:custGeom>
                <a:avLst/>
                <a:gdLst>
                  <a:gd name="T0" fmla="*/ 96 w 191"/>
                  <a:gd name="T1" fmla="*/ 0 h 498"/>
                  <a:gd name="T2" fmla="*/ 126 w 191"/>
                  <a:gd name="T3" fmla="*/ 4 h 498"/>
                  <a:gd name="T4" fmla="*/ 152 w 191"/>
                  <a:gd name="T5" fmla="*/ 18 h 498"/>
                  <a:gd name="T6" fmla="*/ 173 w 191"/>
                  <a:gd name="T7" fmla="*/ 38 h 498"/>
                  <a:gd name="T8" fmla="*/ 186 w 191"/>
                  <a:gd name="T9" fmla="*/ 65 h 498"/>
                  <a:gd name="T10" fmla="*/ 191 w 191"/>
                  <a:gd name="T11" fmla="*/ 96 h 498"/>
                  <a:gd name="T12" fmla="*/ 191 w 191"/>
                  <a:gd name="T13" fmla="*/ 403 h 498"/>
                  <a:gd name="T14" fmla="*/ 186 w 191"/>
                  <a:gd name="T15" fmla="*/ 433 h 498"/>
                  <a:gd name="T16" fmla="*/ 173 w 191"/>
                  <a:gd name="T17" fmla="*/ 460 h 498"/>
                  <a:gd name="T18" fmla="*/ 152 w 191"/>
                  <a:gd name="T19" fmla="*/ 480 h 498"/>
                  <a:gd name="T20" fmla="*/ 126 w 191"/>
                  <a:gd name="T21" fmla="*/ 495 h 498"/>
                  <a:gd name="T22" fmla="*/ 96 w 191"/>
                  <a:gd name="T23" fmla="*/ 498 h 498"/>
                  <a:gd name="T24" fmla="*/ 65 w 191"/>
                  <a:gd name="T25" fmla="*/ 495 h 498"/>
                  <a:gd name="T26" fmla="*/ 40 w 191"/>
                  <a:gd name="T27" fmla="*/ 480 h 498"/>
                  <a:gd name="T28" fmla="*/ 18 w 191"/>
                  <a:gd name="T29" fmla="*/ 460 h 498"/>
                  <a:gd name="T30" fmla="*/ 4 w 191"/>
                  <a:gd name="T31" fmla="*/ 433 h 498"/>
                  <a:gd name="T32" fmla="*/ 0 w 191"/>
                  <a:gd name="T33" fmla="*/ 403 h 498"/>
                  <a:gd name="T34" fmla="*/ 0 w 191"/>
                  <a:gd name="T35" fmla="*/ 96 h 498"/>
                  <a:gd name="T36" fmla="*/ 4 w 191"/>
                  <a:gd name="T37" fmla="*/ 65 h 498"/>
                  <a:gd name="T38" fmla="*/ 18 w 191"/>
                  <a:gd name="T39" fmla="*/ 38 h 498"/>
                  <a:gd name="T40" fmla="*/ 40 w 191"/>
                  <a:gd name="T41" fmla="*/ 18 h 498"/>
                  <a:gd name="T42" fmla="*/ 65 w 191"/>
                  <a:gd name="T43" fmla="*/ 4 h 498"/>
                  <a:gd name="T44" fmla="*/ 96 w 191"/>
                  <a:gd name="T45"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498">
                    <a:moveTo>
                      <a:pt x="96" y="0"/>
                    </a:moveTo>
                    <a:lnTo>
                      <a:pt x="126" y="4"/>
                    </a:lnTo>
                    <a:lnTo>
                      <a:pt x="152" y="18"/>
                    </a:lnTo>
                    <a:lnTo>
                      <a:pt x="173" y="38"/>
                    </a:lnTo>
                    <a:lnTo>
                      <a:pt x="186" y="65"/>
                    </a:lnTo>
                    <a:lnTo>
                      <a:pt x="191" y="96"/>
                    </a:lnTo>
                    <a:lnTo>
                      <a:pt x="191" y="403"/>
                    </a:lnTo>
                    <a:lnTo>
                      <a:pt x="186" y="433"/>
                    </a:lnTo>
                    <a:lnTo>
                      <a:pt x="173" y="460"/>
                    </a:lnTo>
                    <a:lnTo>
                      <a:pt x="152" y="480"/>
                    </a:lnTo>
                    <a:lnTo>
                      <a:pt x="126" y="495"/>
                    </a:lnTo>
                    <a:lnTo>
                      <a:pt x="96" y="498"/>
                    </a:lnTo>
                    <a:lnTo>
                      <a:pt x="65" y="495"/>
                    </a:lnTo>
                    <a:lnTo>
                      <a:pt x="40" y="480"/>
                    </a:lnTo>
                    <a:lnTo>
                      <a:pt x="18" y="460"/>
                    </a:lnTo>
                    <a:lnTo>
                      <a:pt x="4" y="433"/>
                    </a:lnTo>
                    <a:lnTo>
                      <a:pt x="0" y="403"/>
                    </a:lnTo>
                    <a:lnTo>
                      <a:pt x="0" y="96"/>
                    </a:lnTo>
                    <a:lnTo>
                      <a:pt x="4" y="65"/>
                    </a:lnTo>
                    <a:lnTo>
                      <a:pt x="18" y="38"/>
                    </a:lnTo>
                    <a:lnTo>
                      <a:pt x="40" y="18"/>
                    </a:lnTo>
                    <a:lnTo>
                      <a:pt x="65" y="4"/>
                    </a:lnTo>
                    <a:lnTo>
                      <a:pt x="96" y="0"/>
                    </a:lnTo>
                    <a:close/>
                  </a:path>
                </a:pathLst>
              </a:custGeom>
              <a:ln>
                <a:headEnd/>
                <a:tailEn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23"/>
              <p:cNvSpPr>
                <a:spLocks/>
              </p:cNvSpPr>
              <p:nvPr/>
            </p:nvSpPr>
            <p:spPr bwMode="auto">
              <a:xfrm>
                <a:off x="3125" y="831"/>
                <a:ext cx="96" cy="249"/>
              </a:xfrm>
              <a:custGeom>
                <a:avLst/>
                <a:gdLst>
                  <a:gd name="T0" fmla="*/ 96 w 191"/>
                  <a:gd name="T1" fmla="*/ 0 h 498"/>
                  <a:gd name="T2" fmla="*/ 126 w 191"/>
                  <a:gd name="T3" fmla="*/ 4 h 498"/>
                  <a:gd name="T4" fmla="*/ 152 w 191"/>
                  <a:gd name="T5" fmla="*/ 18 h 498"/>
                  <a:gd name="T6" fmla="*/ 173 w 191"/>
                  <a:gd name="T7" fmla="*/ 38 h 498"/>
                  <a:gd name="T8" fmla="*/ 188 w 191"/>
                  <a:gd name="T9" fmla="*/ 65 h 498"/>
                  <a:gd name="T10" fmla="*/ 191 w 191"/>
                  <a:gd name="T11" fmla="*/ 96 h 498"/>
                  <a:gd name="T12" fmla="*/ 191 w 191"/>
                  <a:gd name="T13" fmla="*/ 403 h 498"/>
                  <a:gd name="T14" fmla="*/ 188 w 191"/>
                  <a:gd name="T15" fmla="*/ 433 h 498"/>
                  <a:gd name="T16" fmla="*/ 173 w 191"/>
                  <a:gd name="T17" fmla="*/ 460 h 498"/>
                  <a:gd name="T18" fmla="*/ 152 w 191"/>
                  <a:gd name="T19" fmla="*/ 480 h 498"/>
                  <a:gd name="T20" fmla="*/ 126 w 191"/>
                  <a:gd name="T21" fmla="*/ 495 h 498"/>
                  <a:gd name="T22" fmla="*/ 96 w 191"/>
                  <a:gd name="T23" fmla="*/ 498 h 498"/>
                  <a:gd name="T24" fmla="*/ 65 w 191"/>
                  <a:gd name="T25" fmla="*/ 495 h 498"/>
                  <a:gd name="T26" fmla="*/ 40 w 191"/>
                  <a:gd name="T27" fmla="*/ 480 h 498"/>
                  <a:gd name="T28" fmla="*/ 18 w 191"/>
                  <a:gd name="T29" fmla="*/ 460 h 498"/>
                  <a:gd name="T30" fmla="*/ 5 w 191"/>
                  <a:gd name="T31" fmla="*/ 433 h 498"/>
                  <a:gd name="T32" fmla="*/ 0 w 191"/>
                  <a:gd name="T33" fmla="*/ 403 h 498"/>
                  <a:gd name="T34" fmla="*/ 0 w 191"/>
                  <a:gd name="T35" fmla="*/ 96 h 498"/>
                  <a:gd name="T36" fmla="*/ 5 w 191"/>
                  <a:gd name="T37" fmla="*/ 65 h 498"/>
                  <a:gd name="T38" fmla="*/ 18 w 191"/>
                  <a:gd name="T39" fmla="*/ 38 h 498"/>
                  <a:gd name="T40" fmla="*/ 40 w 191"/>
                  <a:gd name="T41" fmla="*/ 18 h 498"/>
                  <a:gd name="T42" fmla="*/ 65 w 191"/>
                  <a:gd name="T43" fmla="*/ 4 h 498"/>
                  <a:gd name="T44" fmla="*/ 96 w 191"/>
                  <a:gd name="T45"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498">
                    <a:moveTo>
                      <a:pt x="96" y="0"/>
                    </a:moveTo>
                    <a:lnTo>
                      <a:pt x="126" y="4"/>
                    </a:lnTo>
                    <a:lnTo>
                      <a:pt x="152" y="18"/>
                    </a:lnTo>
                    <a:lnTo>
                      <a:pt x="173" y="38"/>
                    </a:lnTo>
                    <a:lnTo>
                      <a:pt x="188" y="65"/>
                    </a:lnTo>
                    <a:lnTo>
                      <a:pt x="191" y="96"/>
                    </a:lnTo>
                    <a:lnTo>
                      <a:pt x="191" y="403"/>
                    </a:lnTo>
                    <a:lnTo>
                      <a:pt x="188" y="433"/>
                    </a:lnTo>
                    <a:lnTo>
                      <a:pt x="173" y="460"/>
                    </a:lnTo>
                    <a:lnTo>
                      <a:pt x="152" y="480"/>
                    </a:lnTo>
                    <a:lnTo>
                      <a:pt x="126" y="495"/>
                    </a:lnTo>
                    <a:lnTo>
                      <a:pt x="96" y="498"/>
                    </a:lnTo>
                    <a:lnTo>
                      <a:pt x="65" y="495"/>
                    </a:lnTo>
                    <a:lnTo>
                      <a:pt x="40" y="480"/>
                    </a:lnTo>
                    <a:lnTo>
                      <a:pt x="18" y="460"/>
                    </a:lnTo>
                    <a:lnTo>
                      <a:pt x="5" y="433"/>
                    </a:lnTo>
                    <a:lnTo>
                      <a:pt x="0" y="403"/>
                    </a:lnTo>
                    <a:lnTo>
                      <a:pt x="0" y="96"/>
                    </a:lnTo>
                    <a:lnTo>
                      <a:pt x="5" y="65"/>
                    </a:lnTo>
                    <a:lnTo>
                      <a:pt x="18" y="38"/>
                    </a:lnTo>
                    <a:lnTo>
                      <a:pt x="40" y="18"/>
                    </a:lnTo>
                    <a:lnTo>
                      <a:pt x="65" y="4"/>
                    </a:lnTo>
                    <a:lnTo>
                      <a:pt x="96" y="0"/>
                    </a:lnTo>
                    <a:close/>
                  </a:path>
                </a:pathLst>
              </a:custGeom>
              <a:ln>
                <a:headEnd/>
                <a:tailEn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5"/>
              <p:cNvSpPr>
                <a:spLocks/>
              </p:cNvSpPr>
              <p:nvPr/>
            </p:nvSpPr>
            <p:spPr bwMode="auto">
              <a:xfrm>
                <a:off x="4560" y="3237"/>
                <a:ext cx="96" cy="250"/>
              </a:xfrm>
              <a:custGeom>
                <a:avLst/>
                <a:gdLst>
                  <a:gd name="T0" fmla="*/ 98 w 193"/>
                  <a:gd name="T1" fmla="*/ 0 h 499"/>
                  <a:gd name="T2" fmla="*/ 128 w 193"/>
                  <a:gd name="T3" fmla="*/ 5 h 499"/>
                  <a:gd name="T4" fmla="*/ 154 w 193"/>
                  <a:gd name="T5" fmla="*/ 18 h 499"/>
                  <a:gd name="T6" fmla="*/ 175 w 193"/>
                  <a:gd name="T7" fmla="*/ 39 h 499"/>
                  <a:gd name="T8" fmla="*/ 188 w 193"/>
                  <a:gd name="T9" fmla="*/ 64 h 499"/>
                  <a:gd name="T10" fmla="*/ 193 w 193"/>
                  <a:gd name="T11" fmla="*/ 95 h 499"/>
                  <a:gd name="T12" fmla="*/ 193 w 193"/>
                  <a:gd name="T13" fmla="*/ 404 h 499"/>
                  <a:gd name="T14" fmla="*/ 188 w 193"/>
                  <a:gd name="T15" fmla="*/ 432 h 499"/>
                  <a:gd name="T16" fmla="*/ 175 w 193"/>
                  <a:gd name="T17" fmla="*/ 459 h 499"/>
                  <a:gd name="T18" fmla="*/ 154 w 193"/>
                  <a:gd name="T19" fmla="*/ 481 h 499"/>
                  <a:gd name="T20" fmla="*/ 128 w 193"/>
                  <a:gd name="T21" fmla="*/ 494 h 499"/>
                  <a:gd name="T22" fmla="*/ 98 w 193"/>
                  <a:gd name="T23" fmla="*/ 499 h 499"/>
                  <a:gd name="T24" fmla="*/ 67 w 193"/>
                  <a:gd name="T25" fmla="*/ 494 h 499"/>
                  <a:gd name="T26" fmla="*/ 40 w 193"/>
                  <a:gd name="T27" fmla="*/ 481 h 499"/>
                  <a:gd name="T28" fmla="*/ 20 w 193"/>
                  <a:gd name="T29" fmla="*/ 459 h 499"/>
                  <a:gd name="T30" fmla="*/ 6 w 193"/>
                  <a:gd name="T31" fmla="*/ 432 h 499"/>
                  <a:gd name="T32" fmla="*/ 0 w 193"/>
                  <a:gd name="T33" fmla="*/ 404 h 499"/>
                  <a:gd name="T34" fmla="*/ 0 w 193"/>
                  <a:gd name="T35" fmla="*/ 95 h 499"/>
                  <a:gd name="T36" fmla="*/ 6 w 193"/>
                  <a:gd name="T37" fmla="*/ 64 h 499"/>
                  <a:gd name="T38" fmla="*/ 20 w 193"/>
                  <a:gd name="T39" fmla="*/ 39 h 499"/>
                  <a:gd name="T40" fmla="*/ 40 w 193"/>
                  <a:gd name="T41" fmla="*/ 18 h 499"/>
                  <a:gd name="T42" fmla="*/ 67 w 193"/>
                  <a:gd name="T43" fmla="*/ 5 h 499"/>
                  <a:gd name="T44" fmla="*/ 98 w 193"/>
                  <a:gd name="T45"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499">
                    <a:moveTo>
                      <a:pt x="98" y="0"/>
                    </a:moveTo>
                    <a:lnTo>
                      <a:pt x="128" y="5"/>
                    </a:lnTo>
                    <a:lnTo>
                      <a:pt x="154" y="18"/>
                    </a:lnTo>
                    <a:lnTo>
                      <a:pt x="175" y="39"/>
                    </a:lnTo>
                    <a:lnTo>
                      <a:pt x="188" y="64"/>
                    </a:lnTo>
                    <a:lnTo>
                      <a:pt x="193" y="95"/>
                    </a:lnTo>
                    <a:lnTo>
                      <a:pt x="193" y="404"/>
                    </a:lnTo>
                    <a:lnTo>
                      <a:pt x="188" y="432"/>
                    </a:lnTo>
                    <a:lnTo>
                      <a:pt x="175" y="459"/>
                    </a:lnTo>
                    <a:lnTo>
                      <a:pt x="154" y="481"/>
                    </a:lnTo>
                    <a:lnTo>
                      <a:pt x="128" y="494"/>
                    </a:lnTo>
                    <a:lnTo>
                      <a:pt x="98" y="499"/>
                    </a:lnTo>
                    <a:lnTo>
                      <a:pt x="67" y="494"/>
                    </a:lnTo>
                    <a:lnTo>
                      <a:pt x="40" y="481"/>
                    </a:lnTo>
                    <a:lnTo>
                      <a:pt x="20" y="459"/>
                    </a:lnTo>
                    <a:lnTo>
                      <a:pt x="6" y="432"/>
                    </a:lnTo>
                    <a:lnTo>
                      <a:pt x="0" y="404"/>
                    </a:lnTo>
                    <a:lnTo>
                      <a:pt x="0" y="95"/>
                    </a:lnTo>
                    <a:lnTo>
                      <a:pt x="6" y="64"/>
                    </a:lnTo>
                    <a:lnTo>
                      <a:pt x="20" y="39"/>
                    </a:lnTo>
                    <a:lnTo>
                      <a:pt x="40" y="18"/>
                    </a:lnTo>
                    <a:lnTo>
                      <a:pt x="67" y="5"/>
                    </a:lnTo>
                    <a:lnTo>
                      <a:pt x="98" y="0"/>
                    </a:lnTo>
                    <a:close/>
                  </a:path>
                </a:pathLst>
              </a:custGeom>
              <a:ln>
                <a:headEnd/>
                <a:tailEn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5" name="Rectangle 14"/>
          <p:cNvSpPr/>
          <p:nvPr/>
        </p:nvSpPr>
        <p:spPr>
          <a:xfrm>
            <a:off x="6392563" y="4044547"/>
            <a:ext cx="2174790" cy="1717589"/>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t"/>
          <a:lstStyle/>
          <a:p>
            <a:pPr marL="10795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4</a:t>
            </a:r>
          </a:p>
        </p:txBody>
      </p:sp>
      <p:sp>
        <p:nvSpPr>
          <p:cNvPr id="18" name="Footer Placeholder 17"/>
          <p:cNvSpPr>
            <a:spLocks noGrp="1"/>
          </p:cNvSpPr>
          <p:nvPr>
            <p:ph type="ftr" sz="quarter" idx="11"/>
          </p:nvPr>
        </p:nvSpPr>
        <p:spPr/>
        <p:txBody>
          <a:bodyPr/>
          <a:lstStyle/>
          <a:p>
            <a:r>
              <a:rPr lang="en-US" dirty="0"/>
              <a:t>Apparel Mart-BD</a:t>
            </a:r>
          </a:p>
        </p:txBody>
      </p:sp>
      <p:pic>
        <p:nvPicPr>
          <p:cNvPr id="22" name="Picture 21" descr="Zahnrad Teamwork Motor · Kostenloses Bild auf Pixabay"/>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17476" y="2881994"/>
            <a:ext cx="867034" cy="867034"/>
          </a:xfrm>
          <a:prstGeom prst="rect">
            <a:avLst/>
          </a:prstGeom>
        </p:spPr>
      </p:pic>
      <p:pic>
        <p:nvPicPr>
          <p:cNvPr id="28" name="Picture 27" descr="Ok PNG Transparent Images | PNG All"/>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9295" y="2808234"/>
            <a:ext cx="1014554" cy="1014554"/>
          </a:xfrm>
          <a:prstGeom prst="rect">
            <a:avLst/>
          </a:prstGeom>
        </p:spPr>
      </p:pic>
      <p:pic>
        <p:nvPicPr>
          <p:cNvPr id="30" name="Picture 29"/>
          <p:cNvPicPr>
            <a:picLocks noChangeAspect="1"/>
          </p:cNvPicPr>
          <p:nvPr/>
        </p:nvPicPr>
        <p:blipFill>
          <a:blip r:embed="rId4"/>
          <a:stretch>
            <a:fillRect/>
          </a:stretch>
        </p:blipFill>
        <p:spPr>
          <a:xfrm>
            <a:off x="1853001" y="4852506"/>
            <a:ext cx="1180642" cy="885482"/>
          </a:xfrm>
          <a:prstGeom prst="rect">
            <a:avLst/>
          </a:prstGeom>
        </p:spPr>
      </p:pic>
      <p:pic>
        <p:nvPicPr>
          <p:cNvPr id="31" name="Picture 30" descr="File:Leadership-picture.jpg - Wikimedia Commons"/>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07712" y="4766561"/>
            <a:ext cx="1228145" cy="921109"/>
          </a:xfrm>
          <a:prstGeom prst="rect">
            <a:avLst/>
          </a:prstGeom>
        </p:spPr>
      </p:pic>
    </p:spTree>
    <p:extLst>
      <p:ext uri="{BB962C8B-B14F-4D97-AF65-F5344CB8AC3E}">
        <p14:creationId xmlns:p14="http://schemas.microsoft.com/office/powerpoint/2010/main" val="2326875604"/>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14:bounceEnd="50000">
                                          <p:cBhvr additive="base">
                                            <p:cTn id="7" dur="10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200"/>
                                      </p:stCondLst>
                                      <p:childTnLst>
                                        <p:set>
                                          <p:cBhvr>
                                            <p:cTn id="10" dur="1" fill="hold">
                                              <p:stCondLst>
                                                <p:cond delay="0"/>
                                              </p:stCondLst>
                                            </p:cTn>
                                            <p:tgtEl>
                                              <p:spTgt spid="4"/>
                                            </p:tgtEl>
                                            <p:attrNameLst>
                                              <p:attrName>style.visibility</p:attrName>
                                            </p:attrNameLst>
                                          </p:cBhvr>
                                          <p:to>
                                            <p:strVal val="visible"/>
                                          </p:to>
                                        </p:set>
                                        <p:anim calcmode="lin" valueType="num" p14:bounceEnd="50000">
                                          <p:cBhvr additive="base">
                                            <p:cTn id="11" dur="1000" fill="hold"/>
                                            <p:tgtEl>
                                              <p:spTgt spid="4"/>
                                            </p:tgtEl>
                                            <p:attrNameLst>
                                              <p:attrName>ppt_x</p:attrName>
                                            </p:attrNameLst>
                                          </p:cBhvr>
                                          <p:tavLst>
                                            <p:tav tm="0">
                                              <p:val>
                                                <p:strVal val="1+#ppt_w/2"/>
                                              </p:val>
                                            </p:tav>
                                            <p:tav tm="100000">
                                              <p:val>
                                                <p:strVal val="#ppt_x"/>
                                              </p:val>
                                            </p:tav>
                                          </p:tavLst>
                                        </p:anim>
                                        <p:anim calcmode="lin" valueType="num" p14:bounceEnd="50000">
                                          <p:cBhvr additive="base">
                                            <p:cTn id="12" dur="10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14:presetBounceEnd="50000">
                                      <p:stCondLst>
                                        <p:cond delay="400"/>
                                      </p:stCondLst>
                                      <p:childTnLst>
                                        <p:set>
                                          <p:cBhvr>
                                            <p:cTn id="14" dur="1" fill="hold">
                                              <p:stCondLst>
                                                <p:cond delay="0"/>
                                              </p:stCondLst>
                                            </p:cTn>
                                            <p:tgtEl>
                                              <p:spTgt spid="10"/>
                                            </p:tgtEl>
                                            <p:attrNameLst>
                                              <p:attrName>style.visibility</p:attrName>
                                            </p:attrNameLst>
                                          </p:cBhvr>
                                          <p:to>
                                            <p:strVal val="visible"/>
                                          </p:to>
                                        </p:set>
                                        <p:anim calcmode="lin" valueType="num" p14:bounceEnd="50000">
                                          <p:cBhvr additive="base">
                                            <p:cTn id="15" dur="1000" fill="hold"/>
                                            <p:tgtEl>
                                              <p:spTgt spid="10"/>
                                            </p:tgtEl>
                                            <p:attrNameLst>
                                              <p:attrName>ppt_x</p:attrName>
                                            </p:attrNameLst>
                                          </p:cBhvr>
                                          <p:tavLst>
                                            <p:tav tm="0">
                                              <p:val>
                                                <p:strVal val="1+#ppt_w/2"/>
                                              </p:val>
                                            </p:tav>
                                            <p:tav tm="100000">
                                              <p:val>
                                                <p:strVal val="#ppt_x"/>
                                              </p:val>
                                            </p:tav>
                                          </p:tavLst>
                                        </p:anim>
                                        <p:anim calcmode="lin" valueType="num" p14:bounceEnd="50000">
                                          <p:cBhvr additive="base">
                                            <p:cTn id="16" dur="10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14:presetBounceEnd="50000">
                                      <p:stCondLst>
                                        <p:cond delay="600"/>
                                      </p:stCondLst>
                                      <p:childTnLst>
                                        <p:set>
                                          <p:cBhvr>
                                            <p:cTn id="18" dur="1" fill="hold">
                                              <p:stCondLst>
                                                <p:cond delay="0"/>
                                              </p:stCondLst>
                                            </p:cTn>
                                            <p:tgtEl>
                                              <p:spTgt spid="13"/>
                                            </p:tgtEl>
                                            <p:attrNameLst>
                                              <p:attrName>style.visibility</p:attrName>
                                            </p:attrNameLst>
                                          </p:cBhvr>
                                          <p:to>
                                            <p:strVal val="visible"/>
                                          </p:to>
                                        </p:set>
                                        <p:anim calcmode="lin" valueType="num" p14:bounceEnd="50000">
                                          <p:cBhvr additive="base">
                                            <p:cTn id="19" dur="1000" fill="hold"/>
                                            <p:tgtEl>
                                              <p:spTgt spid="13"/>
                                            </p:tgtEl>
                                            <p:attrNameLst>
                                              <p:attrName>ppt_x</p:attrName>
                                            </p:attrNameLst>
                                          </p:cBhvr>
                                          <p:tavLst>
                                            <p:tav tm="0">
                                              <p:val>
                                                <p:strVal val="1+#ppt_w/2"/>
                                              </p:val>
                                            </p:tav>
                                            <p:tav tm="100000">
                                              <p:val>
                                                <p:strVal val="#ppt_x"/>
                                              </p:val>
                                            </p:tav>
                                          </p:tavLst>
                                        </p:anim>
                                        <p:anim calcmode="lin" valueType="num" p14:bounceEnd="50000">
                                          <p:cBhvr additive="base">
                                            <p:cTn id="20" dur="1000" fill="hold"/>
                                            <p:tgtEl>
                                              <p:spTgt spid="1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14:presetBounceEnd="50000">
                                      <p:stCondLst>
                                        <p:cond delay="800"/>
                                      </p:stCondLst>
                                      <p:childTnLst>
                                        <p:set>
                                          <p:cBhvr>
                                            <p:cTn id="22" dur="1" fill="hold">
                                              <p:stCondLst>
                                                <p:cond delay="0"/>
                                              </p:stCondLst>
                                            </p:cTn>
                                            <p:tgtEl>
                                              <p:spTgt spid="6"/>
                                            </p:tgtEl>
                                            <p:attrNameLst>
                                              <p:attrName>style.visibility</p:attrName>
                                            </p:attrNameLst>
                                          </p:cBhvr>
                                          <p:to>
                                            <p:strVal val="visible"/>
                                          </p:to>
                                        </p:set>
                                        <p:anim calcmode="lin" valueType="num" p14:bounceEnd="50000">
                                          <p:cBhvr additive="base">
                                            <p:cTn id="23" dur="1000" fill="hold"/>
                                            <p:tgtEl>
                                              <p:spTgt spid="6"/>
                                            </p:tgtEl>
                                            <p:attrNameLst>
                                              <p:attrName>ppt_x</p:attrName>
                                            </p:attrNameLst>
                                          </p:cBhvr>
                                          <p:tavLst>
                                            <p:tav tm="0">
                                              <p:val>
                                                <p:strVal val="1+#ppt_w/2"/>
                                              </p:val>
                                            </p:tav>
                                            <p:tav tm="100000">
                                              <p:val>
                                                <p:strVal val="#ppt_x"/>
                                              </p:val>
                                            </p:tav>
                                          </p:tavLst>
                                        </p:anim>
                                        <p:anim calcmode="lin" valueType="num" p14:bounceEnd="50000">
                                          <p:cBhvr additive="base">
                                            <p:cTn id="24" dur="1000" fill="hold"/>
                                            <p:tgtEl>
                                              <p:spTgt spid="6"/>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14:presetBounceEnd="50000">
                                      <p:stCondLst>
                                        <p:cond delay="1000"/>
                                      </p:stCondLst>
                                      <p:childTnLst>
                                        <p:set>
                                          <p:cBhvr>
                                            <p:cTn id="26" dur="1" fill="hold">
                                              <p:stCondLst>
                                                <p:cond delay="0"/>
                                              </p:stCondLst>
                                            </p:cTn>
                                            <p:tgtEl>
                                              <p:spTgt spid="9"/>
                                            </p:tgtEl>
                                            <p:attrNameLst>
                                              <p:attrName>style.visibility</p:attrName>
                                            </p:attrNameLst>
                                          </p:cBhvr>
                                          <p:to>
                                            <p:strVal val="visible"/>
                                          </p:to>
                                        </p:set>
                                        <p:anim calcmode="lin" valueType="num" p14:bounceEnd="50000">
                                          <p:cBhvr additive="base">
                                            <p:cTn id="27" dur="10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id="28" dur="1000" fill="hold"/>
                                            <p:tgtEl>
                                              <p:spTgt spid="9"/>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14:presetBounceEnd="50000">
                                      <p:stCondLst>
                                        <p:cond delay="1200"/>
                                      </p:stCondLst>
                                      <p:childTnLst>
                                        <p:set>
                                          <p:cBhvr>
                                            <p:cTn id="30" dur="1" fill="hold">
                                              <p:stCondLst>
                                                <p:cond delay="0"/>
                                              </p:stCondLst>
                                            </p:cTn>
                                            <p:tgtEl>
                                              <p:spTgt spid="17"/>
                                            </p:tgtEl>
                                            <p:attrNameLst>
                                              <p:attrName>style.visibility</p:attrName>
                                            </p:attrNameLst>
                                          </p:cBhvr>
                                          <p:to>
                                            <p:strVal val="visible"/>
                                          </p:to>
                                        </p:set>
                                        <p:anim calcmode="lin" valueType="num" p14:bounceEnd="50000">
                                          <p:cBhvr additive="base">
                                            <p:cTn id="31" dur="1000" fill="hold"/>
                                            <p:tgtEl>
                                              <p:spTgt spid="17"/>
                                            </p:tgtEl>
                                            <p:attrNameLst>
                                              <p:attrName>ppt_x</p:attrName>
                                            </p:attrNameLst>
                                          </p:cBhvr>
                                          <p:tavLst>
                                            <p:tav tm="0">
                                              <p:val>
                                                <p:strVal val="1+#ppt_w/2"/>
                                              </p:val>
                                            </p:tav>
                                            <p:tav tm="100000">
                                              <p:val>
                                                <p:strVal val="#ppt_x"/>
                                              </p:val>
                                            </p:tav>
                                          </p:tavLst>
                                        </p:anim>
                                        <p:anim calcmode="lin" valueType="num" p14:bounceEnd="50000">
                                          <p:cBhvr additive="base">
                                            <p:cTn id="32" dur="10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P spid="13" grpId="0"/>
          <p:bldP spid="1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20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000" fill="hold"/>
                                            <p:tgtEl>
                                              <p:spTgt spid="4"/>
                                            </p:tgtEl>
                                            <p:attrNameLst>
                                              <p:attrName>ppt_x</p:attrName>
                                            </p:attrNameLst>
                                          </p:cBhvr>
                                          <p:tavLst>
                                            <p:tav tm="0">
                                              <p:val>
                                                <p:strVal val="1+#ppt_w/2"/>
                                              </p:val>
                                            </p:tav>
                                            <p:tav tm="100000">
                                              <p:val>
                                                <p:strVal val="#ppt_x"/>
                                              </p:val>
                                            </p:tav>
                                          </p:tavLst>
                                        </p:anim>
                                        <p:anim calcmode="lin" valueType="num">
                                          <p:cBhvr additive="base">
                                            <p:cTn id="12" dur="10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4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1+#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60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1000" fill="hold"/>
                                            <p:tgtEl>
                                              <p:spTgt spid="13"/>
                                            </p:tgtEl>
                                            <p:attrNameLst>
                                              <p:attrName>ppt_x</p:attrName>
                                            </p:attrNameLst>
                                          </p:cBhvr>
                                          <p:tavLst>
                                            <p:tav tm="0">
                                              <p:val>
                                                <p:strVal val="1+#ppt_w/2"/>
                                              </p:val>
                                            </p:tav>
                                            <p:tav tm="100000">
                                              <p:val>
                                                <p:strVal val="#ppt_x"/>
                                              </p:val>
                                            </p:tav>
                                          </p:tavLst>
                                        </p:anim>
                                        <p:anim calcmode="lin" valueType="num">
                                          <p:cBhvr additive="base">
                                            <p:cTn id="20" dur="1000" fill="hold"/>
                                            <p:tgtEl>
                                              <p:spTgt spid="1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80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1000" fill="hold"/>
                                            <p:tgtEl>
                                              <p:spTgt spid="6"/>
                                            </p:tgtEl>
                                            <p:attrNameLst>
                                              <p:attrName>ppt_x</p:attrName>
                                            </p:attrNameLst>
                                          </p:cBhvr>
                                          <p:tavLst>
                                            <p:tav tm="0">
                                              <p:val>
                                                <p:strVal val="1+#ppt_w/2"/>
                                              </p:val>
                                            </p:tav>
                                            <p:tav tm="100000">
                                              <p:val>
                                                <p:strVal val="#ppt_x"/>
                                              </p:val>
                                            </p:tav>
                                          </p:tavLst>
                                        </p:anim>
                                        <p:anim calcmode="lin" valueType="num">
                                          <p:cBhvr additive="base">
                                            <p:cTn id="24" dur="1000" fill="hold"/>
                                            <p:tgtEl>
                                              <p:spTgt spid="6"/>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100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1000" fill="hold"/>
                                            <p:tgtEl>
                                              <p:spTgt spid="9"/>
                                            </p:tgtEl>
                                            <p:attrNameLst>
                                              <p:attrName>ppt_x</p:attrName>
                                            </p:attrNameLst>
                                          </p:cBhvr>
                                          <p:tavLst>
                                            <p:tav tm="0">
                                              <p:val>
                                                <p:strVal val="1+#ppt_w/2"/>
                                              </p:val>
                                            </p:tav>
                                            <p:tav tm="100000">
                                              <p:val>
                                                <p:strVal val="#ppt_x"/>
                                              </p:val>
                                            </p:tav>
                                          </p:tavLst>
                                        </p:anim>
                                        <p:anim calcmode="lin" valueType="num">
                                          <p:cBhvr additive="base">
                                            <p:cTn id="28" dur="1000" fill="hold"/>
                                            <p:tgtEl>
                                              <p:spTgt spid="9"/>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120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1000" fill="hold"/>
                                            <p:tgtEl>
                                              <p:spTgt spid="17"/>
                                            </p:tgtEl>
                                            <p:attrNameLst>
                                              <p:attrName>ppt_x</p:attrName>
                                            </p:attrNameLst>
                                          </p:cBhvr>
                                          <p:tavLst>
                                            <p:tav tm="0">
                                              <p:val>
                                                <p:strVal val="1+#ppt_w/2"/>
                                              </p:val>
                                            </p:tav>
                                            <p:tav tm="100000">
                                              <p:val>
                                                <p:strVal val="#ppt_x"/>
                                              </p:val>
                                            </p:tav>
                                          </p:tavLst>
                                        </p:anim>
                                        <p:anim calcmode="lin" valueType="num">
                                          <p:cBhvr additive="base">
                                            <p:cTn id="32" dur="10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P spid="13" grpId="0"/>
          <p:bldP spid="17" grpId="0"/>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636621" y="3078449"/>
            <a:ext cx="11377264" cy="3504912"/>
            <a:chOff x="2348885" y="2481447"/>
            <a:chExt cx="9981063" cy="3057099"/>
          </a:xfrm>
        </p:grpSpPr>
        <p:sp>
          <p:nvSpPr>
            <p:cNvPr id="2" name="Rectangle 1"/>
            <p:cNvSpPr/>
            <p:nvPr/>
          </p:nvSpPr>
          <p:spPr>
            <a:xfrm>
              <a:off x="2348885" y="2481447"/>
              <a:ext cx="9981063" cy="305709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Subtitle 2"/>
            <p:cNvSpPr txBox="1">
              <a:spLocks/>
            </p:cNvSpPr>
            <p:nvPr/>
          </p:nvSpPr>
          <p:spPr>
            <a:xfrm>
              <a:off x="3115350" y="3619361"/>
              <a:ext cx="2599083" cy="1491734"/>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rPr>
                <a:t>Top</a:t>
              </a:r>
              <a:r>
                <a:rPr kumimoji="0" lang="en-US" sz="1800" b="0" i="0" u="none" strike="noStrike" kern="1200" cap="none" spc="0" normalizeH="0" noProof="0" dirty="0">
                  <a:ln>
                    <a:noFill/>
                  </a:ln>
                  <a:solidFill>
                    <a:prstClr val="white"/>
                  </a:solidFill>
                  <a:effectLst/>
                  <a:uLnTx/>
                  <a:uFillTx/>
                  <a:latin typeface="Trebuchet MS" panose="020B0603020202020204" pitchFamily="34" charset="0"/>
                </a:rPr>
                <a:t> Management</a:t>
              </a: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1800" dirty="0">
                  <a:solidFill>
                    <a:prstClr val="white"/>
                  </a:solidFill>
                  <a:latin typeface="Trebuchet MS" panose="020B0603020202020204" pitchFamily="34" charset="0"/>
                </a:rPr>
                <a:t>Owner- Md. Murad Khan </a:t>
              </a:r>
            </a:p>
          </p:txBody>
        </p:sp>
        <p:sp>
          <p:nvSpPr>
            <p:cNvPr id="11" name="Subtitle 2"/>
            <p:cNvSpPr txBox="1">
              <a:spLocks/>
            </p:cNvSpPr>
            <p:nvPr/>
          </p:nvSpPr>
          <p:spPr>
            <a:xfrm>
              <a:off x="9284766" y="3598881"/>
              <a:ext cx="2599083" cy="1491734"/>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rPr>
                <a:t>Execution Team </a:t>
              </a: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1800" dirty="0">
                  <a:solidFill>
                    <a:prstClr val="white"/>
                  </a:solidFill>
                  <a:latin typeface="Trebuchet MS" panose="020B0603020202020204" pitchFamily="34" charset="0"/>
                </a:rPr>
                <a:t>Merchandiser – </a:t>
              </a:r>
              <a:r>
                <a:rPr lang="en-US" sz="1800" dirty="0" smtClean="0">
                  <a:solidFill>
                    <a:prstClr val="white"/>
                  </a:solidFill>
                  <a:latin typeface="Trebuchet MS" panose="020B0603020202020204" pitchFamily="34" charset="0"/>
                </a:rPr>
                <a:t>2</a:t>
              </a:r>
              <a:endParaRPr lang="en-US" sz="1800" dirty="0">
                <a:solidFill>
                  <a:prstClr val="white"/>
                </a:solidFill>
                <a:latin typeface="Trebuchet MS" panose="020B0603020202020204" pitchFamily="34" charset="0"/>
              </a:endParaRP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rPr>
                <a:t>Quality</a:t>
              </a:r>
              <a:r>
                <a:rPr kumimoji="0" lang="en-US" sz="1800" b="0" i="0" u="none" strike="noStrike" kern="1200" cap="none" spc="0" normalizeH="0" noProof="0" dirty="0">
                  <a:ln>
                    <a:noFill/>
                  </a:ln>
                  <a:solidFill>
                    <a:prstClr val="white"/>
                  </a:solidFill>
                  <a:effectLst/>
                  <a:uLnTx/>
                  <a:uFillTx/>
                  <a:latin typeface="Trebuchet MS" panose="020B0603020202020204" pitchFamily="34" charset="0"/>
                </a:rPr>
                <a:t> assurance </a:t>
              </a:r>
              <a:r>
                <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rPr>
                <a:t>- </a:t>
              </a:r>
              <a:r>
                <a:rPr kumimoji="0" lang="en-US" sz="1800" b="0" i="0" u="none" strike="noStrike" kern="1200" cap="none" spc="0" normalizeH="0" baseline="0" noProof="0" dirty="0" smtClean="0">
                  <a:ln>
                    <a:noFill/>
                  </a:ln>
                  <a:solidFill>
                    <a:prstClr val="white"/>
                  </a:solidFill>
                  <a:effectLst/>
                  <a:uLnTx/>
                  <a:uFillTx/>
                  <a:latin typeface="Trebuchet MS" panose="020B0603020202020204" pitchFamily="34" charset="0"/>
                </a:rPr>
                <a:t>4</a:t>
              </a:r>
              <a:endPar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ndParaRPr>
            </a:p>
          </p:txBody>
        </p:sp>
        <p:grpSp>
          <p:nvGrpSpPr>
            <p:cNvPr id="30" name="Group 29"/>
            <p:cNvGrpSpPr/>
            <p:nvPr/>
          </p:nvGrpSpPr>
          <p:grpSpPr>
            <a:xfrm>
              <a:off x="7114488" y="2567691"/>
              <a:ext cx="914400" cy="914400"/>
              <a:chOff x="7114488" y="2567691"/>
              <a:chExt cx="914400" cy="914400"/>
            </a:xfrm>
          </p:grpSpPr>
          <p:sp>
            <p:nvSpPr>
              <p:cNvPr id="7" name="Oval 6"/>
              <p:cNvSpPr/>
              <p:nvPr/>
            </p:nvSpPr>
            <p:spPr>
              <a:xfrm>
                <a:off x="7114488" y="2567691"/>
                <a:ext cx="914400" cy="914400"/>
              </a:xfrm>
              <a:prstGeom prst="ellipse">
                <a:avLst/>
              </a:prstGeom>
              <a:solidFill>
                <a:schemeClr val="accent5"/>
              </a:solidFill>
              <a:ln>
                <a:noFill/>
              </a:ln>
              <a:effectLst>
                <a:outerShdw blurRad="152400" dist="38100" dir="5400000" sx="102000" sy="102000" algn="t"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 name="Group 10"/>
              <p:cNvGrpSpPr>
                <a:grpSpLocks noChangeAspect="1"/>
              </p:cNvGrpSpPr>
              <p:nvPr/>
            </p:nvGrpSpPr>
            <p:grpSpPr bwMode="auto">
              <a:xfrm>
                <a:off x="7339416" y="2797114"/>
                <a:ext cx="464545" cy="458551"/>
                <a:chOff x="3323" y="689"/>
                <a:chExt cx="620" cy="612"/>
              </a:xfrm>
              <a:solidFill>
                <a:schemeClr val="bg1"/>
              </a:solidFill>
            </p:grpSpPr>
            <p:sp>
              <p:nvSpPr>
                <p:cNvPr id="25" name="Freeform 12"/>
                <p:cNvSpPr>
                  <a:spLocks/>
                </p:cNvSpPr>
                <p:nvPr/>
              </p:nvSpPr>
              <p:spPr bwMode="auto">
                <a:xfrm>
                  <a:off x="3586" y="870"/>
                  <a:ext cx="103" cy="123"/>
                </a:xfrm>
                <a:custGeom>
                  <a:avLst/>
                  <a:gdLst>
                    <a:gd name="T0" fmla="*/ 307 w 617"/>
                    <a:gd name="T1" fmla="*/ 0 h 740"/>
                    <a:gd name="T2" fmla="*/ 308 w 617"/>
                    <a:gd name="T3" fmla="*/ 0 h 740"/>
                    <a:gd name="T4" fmla="*/ 308 w 617"/>
                    <a:gd name="T5" fmla="*/ 0 h 740"/>
                    <a:gd name="T6" fmla="*/ 308 w 617"/>
                    <a:gd name="T7" fmla="*/ 0 h 740"/>
                    <a:gd name="T8" fmla="*/ 309 w 617"/>
                    <a:gd name="T9" fmla="*/ 0 h 740"/>
                    <a:gd name="T10" fmla="*/ 309 w 617"/>
                    <a:gd name="T11" fmla="*/ 0 h 740"/>
                    <a:gd name="T12" fmla="*/ 309 w 617"/>
                    <a:gd name="T13" fmla="*/ 0 h 740"/>
                    <a:gd name="T14" fmla="*/ 309 w 617"/>
                    <a:gd name="T15" fmla="*/ 0 h 740"/>
                    <a:gd name="T16" fmla="*/ 355 w 617"/>
                    <a:gd name="T17" fmla="*/ 3 h 740"/>
                    <a:gd name="T18" fmla="*/ 399 w 617"/>
                    <a:gd name="T19" fmla="*/ 11 h 740"/>
                    <a:gd name="T20" fmla="*/ 439 w 617"/>
                    <a:gd name="T21" fmla="*/ 22 h 740"/>
                    <a:gd name="T22" fmla="*/ 475 w 617"/>
                    <a:gd name="T23" fmla="*/ 38 h 740"/>
                    <a:gd name="T24" fmla="*/ 508 w 617"/>
                    <a:gd name="T25" fmla="*/ 59 h 740"/>
                    <a:gd name="T26" fmla="*/ 536 w 617"/>
                    <a:gd name="T27" fmla="*/ 82 h 740"/>
                    <a:gd name="T28" fmla="*/ 561 w 617"/>
                    <a:gd name="T29" fmla="*/ 109 h 740"/>
                    <a:gd name="T30" fmla="*/ 581 w 617"/>
                    <a:gd name="T31" fmla="*/ 141 h 740"/>
                    <a:gd name="T32" fmla="*/ 597 w 617"/>
                    <a:gd name="T33" fmla="*/ 176 h 740"/>
                    <a:gd name="T34" fmla="*/ 608 w 617"/>
                    <a:gd name="T35" fmla="*/ 216 h 740"/>
                    <a:gd name="T36" fmla="*/ 615 w 617"/>
                    <a:gd name="T37" fmla="*/ 257 h 740"/>
                    <a:gd name="T38" fmla="*/ 617 w 617"/>
                    <a:gd name="T39" fmla="*/ 304 h 740"/>
                    <a:gd name="T40" fmla="*/ 614 w 617"/>
                    <a:gd name="T41" fmla="*/ 365 h 740"/>
                    <a:gd name="T42" fmla="*/ 608 w 617"/>
                    <a:gd name="T43" fmla="*/ 422 h 740"/>
                    <a:gd name="T44" fmla="*/ 598 w 617"/>
                    <a:gd name="T45" fmla="*/ 475 h 740"/>
                    <a:gd name="T46" fmla="*/ 583 w 617"/>
                    <a:gd name="T47" fmla="*/ 524 h 740"/>
                    <a:gd name="T48" fmla="*/ 567 w 617"/>
                    <a:gd name="T49" fmla="*/ 568 h 740"/>
                    <a:gd name="T50" fmla="*/ 545 w 617"/>
                    <a:gd name="T51" fmla="*/ 607 h 740"/>
                    <a:gd name="T52" fmla="*/ 520 w 617"/>
                    <a:gd name="T53" fmla="*/ 642 h 740"/>
                    <a:gd name="T54" fmla="*/ 493 w 617"/>
                    <a:gd name="T55" fmla="*/ 673 h 740"/>
                    <a:gd name="T56" fmla="*/ 462 w 617"/>
                    <a:gd name="T57" fmla="*/ 696 h 740"/>
                    <a:gd name="T58" fmla="*/ 428 w 617"/>
                    <a:gd name="T59" fmla="*/ 716 h 740"/>
                    <a:gd name="T60" fmla="*/ 392 w 617"/>
                    <a:gd name="T61" fmla="*/ 730 h 740"/>
                    <a:gd name="T62" fmla="*/ 352 w 617"/>
                    <a:gd name="T63" fmla="*/ 738 h 740"/>
                    <a:gd name="T64" fmla="*/ 309 w 617"/>
                    <a:gd name="T65" fmla="*/ 740 h 740"/>
                    <a:gd name="T66" fmla="*/ 309 w 617"/>
                    <a:gd name="T67" fmla="*/ 740 h 740"/>
                    <a:gd name="T68" fmla="*/ 307 w 617"/>
                    <a:gd name="T69" fmla="*/ 740 h 740"/>
                    <a:gd name="T70" fmla="*/ 307 w 617"/>
                    <a:gd name="T71" fmla="*/ 740 h 740"/>
                    <a:gd name="T72" fmla="*/ 265 w 617"/>
                    <a:gd name="T73" fmla="*/ 738 h 740"/>
                    <a:gd name="T74" fmla="*/ 226 w 617"/>
                    <a:gd name="T75" fmla="*/ 730 h 740"/>
                    <a:gd name="T76" fmla="*/ 188 w 617"/>
                    <a:gd name="T77" fmla="*/ 716 h 740"/>
                    <a:gd name="T78" fmla="*/ 154 w 617"/>
                    <a:gd name="T79" fmla="*/ 696 h 740"/>
                    <a:gd name="T80" fmla="*/ 124 w 617"/>
                    <a:gd name="T81" fmla="*/ 673 h 740"/>
                    <a:gd name="T82" fmla="*/ 96 w 617"/>
                    <a:gd name="T83" fmla="*/ 642 h 740"/>
                    <a:gd name="T84" fmla="*/ 71 w 617"/>
                    <a:gd name="T85" fmla="*/ 607 h 740"/>
                    <a:gd name="T86" fmla="*/ 51 w 617"/>
                    <a:gd name="T87" fmla="*/ 568 h 740"/>
                    <a:gd name="T88" fmla="*/ 32 w 617"/>
                    <a:gd name="T89" fmla="*/ 524 h 740"/>
                    <a:gd name="T90" fmla="*/ 19 w 617"/>
                    <a:gd name="T91" fmla="*/ 475 h 740"/>
                    <a:gd name="T92" fmla="*/ 9 w 617"/>
                    <a:gd name="T93" fmla="*/ 422 h 740"/>
                    <a:gd name="T94" fmla="*/ 2 w 617"/>
                    <a:gd name="T95" fmla="*/ 365 h 740"/>
                    <a:gd name="T96" fmla="*/ 0 w 617"/>
                    <a:gd name="T97" fmla="*/ 304 h 740"/>
                    <a:gd name="T98" fmla="*/ 1 w 617"/>
                    <a:gd name="T99" fmla="*/ 257 h 740"/>
                    <a:gd name="T100" fmla="*/ 8 w 617"/>
                    <a:gd name="T101" fmla="*/ 216 h 740"/>
                    <a:gd name="T102" fmla="*/ 19 w 617"/>
                    <a:gd name="T103" fmla="*/ 176 h 740"/>
                    <a:gd name="T104" fmla="*/ 36 w 617"/>
                    <a:gd name="T105" fmla="*/ 141 h 740"/>
                    <a:gd name="T106" fmla="*/ 56 w 617"/>
                    <a:gd name="T107" fmla="*/ 109 h 740"/>
                    <a:gd name="T108" fmla="*/ 80 w 617"/>
                    <a:gd name="T109" fmla="*/ 82 h 740"/>
                    <a:gd name="T110" fmla="*/ 109 w 617"/>
                    <a:gd name="T111" fmla="*/ 59 h 740"/>
                    <a:gd name="T112" fmla="*/ 141 w 617"/>
                    <a:gd name="T113" fmla="*/ 38 h 740"/>
                    <a:gd name="T114" fmla="*/ 178 w 617"/>
                    <a:gd name="T115" fmla="*/ 22 h 740"/>
                    <a:gd name="T116" fmla="*/ 218 w 617"/>
                    <a:gd name="T117" fmla="*/ 11 h 740"/>
                    <a:gd name="T118" fmla="*/ 261 w 617"/>
                    <a:gd name="T119" fmla="*/ 3 h 740"/>
                    <a:gd name="T120" fmla="*/ 307 w 617"/>
                    <a:gd name="T121" fmla="*/ 0 h 740"/>
                    <a:gd name="T122" fmla="*/ 307 w 617"/>
                    <a:gd name="T123" fmla="*/ 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7" h="740">
                      <a:moveTo>
                        <a:pt x="307" y="0"/>
                      </a:moveTo>
                      <a:lnTo>
                        <a:pt x="308" y="0"/>
                      </a:lnTo>
                      <a:lnTo>
                        <a:pt x="308" y="0"/>
                      </a:lnTo>
                      <a:lnTo>
                        <a:pt x="308" y="0"/>
                      </a:lnTo>
                      <a:lnTo>
                        <a:pt x="309" y="0"/>
                      </a:lnTo>
                      <a:lnTo>
                        <a:pt x="309" y="0"/>
                      </a:lnTo>
                      <a:lnTo>
                        <a:pt x="309" y="0"/>
                      </a:lnTo>
                      <a:lnTo>
                        <a:pt x="309" y="0"/>
                      </a:lnTo>
                      <a:lnTo>
                        <a:pt x="355" y="3"/>
                      </a:lnTo>
                      <a:lnTo>
                        <a:pt x="399" y="11"/>
                      </a:lnTo>
                      <a:lnTo>
                        <a:pt x="439" y="22"/>
                      </a:lnTo>
                      <a:lnTo>
                        <a:pt x="475" y="38"/>
                      </a:lnTo>
                      <a:lnTo>
                        <a:pt x="508" y="59"/>
                      </a:lnTo>
                      <a:lnTo>
                        <a:pt x="536" y="82"/>
                      </a:lnTo>
                      <a:lnTo>
                        <a:pt x="561" y="109"/>
                      </a:lnTo>
                      <a:lnTo>
                        <a:pt x="581" y="141"/>
                      </a:lnTo>
                      <a:lnTo>
                        <a:pt x="597" y="176"/>
                      </a:lnTo>
                      <a:lnTo>
                        <a:pt x="608" y="216"/>
                      </a:lnTo>
                      <a:lnTo>
                        <a:pt x="615" y="257"/>
                      </a:lnTo>
                      <a:lnTo>
                        <a:pt x="617" y="304"/>
                      </a:lnTo>
                      <a:lnTo>
                        <a:pt x="614" y="365"/>
                      </a:lnTo>
                      <a:lnTo>
                        <a:pt x="608" y="422"/>
                      </a:lnTo>
                      <a:lnTo>
                        <a:pt x="598" y="475"/>
                      </a:lnTo>
                      <a:lnTo>
                        <a:pt x="583" y="524"/>
                      </a:lnTo>
                      <a:lnTo>
                        <a:pt x="567" y="568"/>
                      </a:lnTo>
                      <a:lnTo>
                        <a:pt x="545" y="607"/>
                      </a:lnTo>
                      <a:lnTo>
                        <a:pt x="520" y="642"/>
                      </a:lnTo>
                      <a:lnTo>
                        <a:pt x="493" y="673"/>
                      </a:lnTo>
                      <a:lnTo>
                        <a:pt x="462" y="696"/>
                      </a:lnTo>
                      <a:lnTo>
                        <a:pt x="428" y="716"/>
                      </a:lnTo>
                      <a:lnTo>
                        <a:pt x="392" y="730"/>
                      </a:lnTo>
                      <a:lnTo>
                        <a:pt x="352" y="738"/>
                      </a:lnTo>
                      <a:lnTo>
                        <a:pt x="309" y="740"/>
                      </a:lnTo>
                      <a:lnTo>
                        <a:pt x="309" y="740"/>
                      </a:lnTo>
                      <a:lnTo>
                        <a:pt x="307" y="740"/>
                      </a:lnTo>
                      <a:lnTo>
                        <a:pt x="307" y="740"/>
                      </a:lnTo>
                      <a:lnTo>
                        <a:pt x="265" y="738"/>
                      </a:lnTo>
                      <a:lnTo>
                        <a:pt x="226" y="730"/>
                      </a:lnTo>
                      <a:lnTo>
                        <a:pt x="188" y="716"/>
                      </a:lnTo>
                      <a:lnTo>
                        <a:pt x="154" y="696"/>
                      </a:lnTo>
                      <a:lnTo>
                        <a:pt x="124" y="673"/>
                      </a:lnTo>
                      <a:lnTo>
                        <a:pt x="96" y="642"/>
                      </a:lnTo>
                      <a:lnTo>
                        <a:pt x="71" y="607"/>
                      </a:lnTo>
                      <a:lnTo>
                        <a:pt x="51" y="568"/>
                      </a:lnTo>
                      <a:lnTo>
                        <a:pt x="32" y="524"/>
                      </a:lnTo>
                      <a:lnTo>
                        <a:pt x="19" y="475"/>
                      </a:lnTo>
                      <a:lnTo>
                        <a:pt x="9" y="422"/>
                      </a:lnTo>
                      <a:lnTo>
                        <a:pt x="2" y="365"/>
                      </a:lnTo>
                      <a:lnTo>
                        <a:pt x="0" y="304"/>
                      </a:lnTo>
                      <a:lnTo>
                        <a:pt x="1" y="257"/>
                      </a:lnTo>
                      <a:lnTo>
                        <a:pt x="8" y="216"/>
                      </a:lnTo>
                      <a:lnTo>
                        <a:pt x="19" y="176"/>
                      </a:lnTo>
                      <a:lnTo>
                        <a:pt x="36" y="141"/>
                      </a:lnTo>
                      <a:lnTo>
                        <a:pt x="56" y="109"/>
                      </a:lnTo>
                      <a:lnTo>
                        <a:pt x="80" y="82"/>
                      </a:lnTo>
                      <a:lnTo>
                        <a:pt x="109" y="59"/>
                      </a:lnTo>
                      <a:lnTo>
                        <a:pt x="141" y="38"/>
                      </a:lnTo>
                      <a:lnTo>
                        <a:pt x="178" y="22"/>
                      </a:lnTo>
                      <a:lnTo>
                        <a:pt x="218" y="11"/>
                      </a:lnTo>
                      <a:lnTo>
                        <a:pt x="261" y="3"/>
                      </a:lnTo>
                      <a:lnTo>
                        <a:pt x="307" y="0"/>
                      </a:lnTo>
                      <a:lnTo>
                        <a:pt x="30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3"/>
                <p:cNvSpPr>
                  <a:spLocks/>
                </p:cNvSpPr>
                <p:nvPr/>
              </p:nvSpPr>
              <p:spPr bwMode="auto">
                <a:xfrm>
                  <a:off x="3437" y="1176"/>
                  <a:ext cx="45" cy="76"/>
                </a:xfrm>
                <a:custGeom>
                  <a:avLst/>
                  <a:gdLst>
                    <a:gd name="T0" fmla="*/ 173 w 270"/>
                    <a:gd name="T1" fmla="*/ 0 h 456"/>
                    <a:gd name="T2" fmla="*/ 202 w 270"/>
                    <a:gd name="T3" fmla="*/ 2 h 456"/>
                    <a:gd name="T4" fmla="*/ 232 w 270"/>
                    <a:gd name="T5" fmla="*/ 9 h 456"/>
                    <a:gd name="T6" fmla="*/ 259 w 270"/>
                    <a:gd name="T7" fmla="*/ 19 h 456"/>
                    <a:gd name="T8" fmla="*/ 267 w 270"/>
                    <a:gd name="T9" fmla="*/ 24 h 456"/>
                    <a:gd name="T10" fmla="*/ 270 w 270"/>
                    <a:gd name="T11" fmla="*/ 33 h 456"/>
                    <a:gd name="T12" fmla="*/ 270 w 270"/>
                    <a:gd name="T13" fmla="*/ 44 h 456"/>
                    <a:gd name="T14" fmla="*/ 255 w 270"/>
                    <a:gd name="T15" fmla="*/ 94 h 456"/>
                    <a:gd name="T16" fmla="*/ 253 w 270"/>
                    <a:gd name="T17" fmla="*/ 99 h 456"/>
                    <a:gd name="T18" fmla="*/ 250 w 270"/>
                    <a:gd name="T19" fmla="*/ 103 h 456"/>
                    <a:gd name="T20" fmla="*/ 245 w 270"/>
                    <a:gd name="T21" fmla="*/ 107 h 456"/>
                    <a:gd name="T22" fmla="*/ 239 w 270"/>
                    <a:gd name="T23" fmla="*/ 109 h 456"/>
                    <a:gd name="T24" fmla="*/ 234 w 270"/>
                    <a:gd name="T25" fmla="*/ 109 h 456"/>
                    <a:gd name="T26" fmla="*/ 228 w 270"/>
                    <a:gd name="T27" fmla="*/ 108 h 456"/>
                    <a:gd name="T28" fmla="*/ 213 w 270"/>
                    <a:gd name="T29" fmla="*/ 105 h 456"/>
                    <a:gd name="T30" fmla="*/ 201 w 270"/>
                    <a:gd name="T31" fmla="*/ 102 h 456"/>
                    <a:gd name="T32" fmla="*/ 200 w 270"/>
                    <a:gd name="T33" fmla="*/ 102 h 456"/>
                    <a:gd name="T34" fmla="*/ 189 w 270"/>
                    <a:gd name="T35" fmla="*/ 105 h 456"/>
                    <a:gd name="T36" fmla="*/ 180 w 270"/>
                    <a:gd name="T37" fmla="*/ 110 h 456"/>
                    <a:gd name="T38" fmla="*/ 175 w 270"/>
                    <a:gd name="T39" fmla="*/ 122 h 456"/>
                    <a:gd name="T40" fmla="*/ 174 w 270"/>
                    <a:gd name="T41" fmla="*/ 136 h 456"/>
                    <a:gd name="T42" fmla="*/ 174 w 270"/>
                    <a:gd name="T43" fmla="*/ 185 h 456"/>
                    <a:gd name="T44" fmla="*/ 246 w 270"/>
                    <a:gd name="T45" fmla="*/ 185 h 456"/>
                    <a:gd name="T46" fmla="*/ 256 w 270"/>
                    <a:gd name="T47" fmla="*/ 188 h 456"/>
                    <a:gd name="T48" fmla="*/ 264 w 270"/>
                    <a:gd name="T49" fmla="*/ 195 h 456"/>
                    <a:gd name="T50" fmla="*/ 267 w 270"/>
                    <a:gd name="T51" fmla="*/ 206 h 456"/>
                    <a:gd name="T52" fmla="*/ 267 w 270"/>
                    <a:gd name="T53" fmla="*/ 250 h 456"/>
                    <a:gd name="T54" fmla="*/ 264 w 270"/>
                    <a:gd name="T55" fmla="*/ 260 h 456"/>
                    <a:gd name="T56" fmla="*/ 256 w 270"/>
                    <a:gd name="T57" fmla="*/ 268 h 456"/>
                    <a:gd name="T58" fmla="*/ 246 w 270"/>
                    <a:gd name="T59" fmla="*/ 271 h 456"/>
                    <a:gd name="T60" fmla="*/ 174 w 270"/>
                    <a:gd name="T61" fmla="*/ 271 h 456"/>
                    <a:gd name="T62" fmla="*/ 174 w 270"/>
                    <a:gd name="T63" fmla="*/ 434 h 456"/>
                    <a:gd name="T64" fmla="*/ 171 w 270"/>
                    <a:gd name="T65" fmla="*/ 445 h 456"/>
                    <a:gd name="T66" fmla="*/ 164 w 270"/>
                    <a:gd name="T67" fmla="*/ 452 h 456"/>
                    <a:gd name="T68" fmla="*/ 153 w 270"/>
                    <a:gd name="T69" fmla="*/ 456 h 456"/>
                    <a:gd name="T70" fmla="*/ 70 w 270"/>
                    <a:gd name="T71" fmla="*/ 456 h 456"/>
                    <a:gd name="T72" fmla="*/ 60 w 270"/>
                    <a:gd name="T73" fmla="*/ 452 h 456"/>
                    <a:gd name="T74" fmla="*/ 52 w 270"/>
                    <a:gd name="T75" fmla="*/ 445 h 456"/>
                    <a:gd name="T76" fmla="*/ 50 w 270"/>
                    <a:gd name="T77" fmla="*/ 434 h 456"/>
                    <a:gd name="T78" fmla="*/ 50 w 270"/>
                    <a:gd name="T79" fmla="*/ 271 h 456"/>
                    <a:gd name="T80" fmla="*/ 20 w 270"/>
                    <a:gd name="T81" fmla="*/ 271 h 456"/>
                    <a:gd name="T82" fmla="*/ 10 w 270"/>
                    <a:gd name="T83" fmla="*/ 267 h 456"/>
                    <a:gd name="T84" fmla="*/ 2 w 270"/>
                    <a:gd name="T85" fmla="*/ 259 h 456"/>
                    <a:gd name="T86" fmla="*/ 0 w 270"/>
                    <a:gd name="T87" fmla="*/ 249 h 456"/>
                    <a:gd name="T88" fmla="*/ 0 w 270"/>
                    <a:gd name="T89" fmla="*/ 206 h 456"/>
                    <a:gd name="T90" fmla="*/ 2 w 270"/>
                    <a:gd name="T91" fmla="*/ 195 h 456"/>
                    <a:gd name="T92" fmla="*/ 10 w 270"/>
                    <a:gd name="T93" fmla="*/ 188 h 456"/>
                    <a:gd name="T94" fmla="*/ 20 w 270"/>
                    <a:gd name="T95" fmla="*/ 185 h 456"/>
                    <a:gd name="T96" fmla="*/ 50 w 270"/>
                    <a:gd name="T97" fmla="*/ 185 h 456"/>
                    <a:gd name="T98" fmla="*/ 50 w 270"/>
                    <a:gd name="T99" fmla="*/ 118 h 456"/>
                    <a:gd name="T100" fmla="*/ 52 w 270"/>
                    <a:gd name="T101" fmla="*/ 92 h 456"/>
                    <a:gd name="T102" fmla="*/ 58 w 270"/>
                    <a:gd name="T103" fmla="*/ 70 h 456"/>
                    <a:gd name="T104" fmla="*/ 68 w 270"/>
                    <a:gd name="T105" fmla="*/ 49 h 456"/>
                    <a:gd name="T106" fmla="*/ 83 w 270"/>
                    <a:gd name="T107" fmla="*/ 32 h 456"/>
                    <a:gd name="T108" fmla="*/ 101 w 270"/>
                    <a:gd name="T109" fmla="*/ 19 h 456"/>
                    <a:gd name="T110" fmla="*/ 122 w 270"/>
                    <a:gd name="T111" fmla="*/ 9 h 456"/>
                    <a:gd name="T112" fmla="*/ 146 w 270"/>
                    <a:gd name="T113" fmla="*/ 2 h 456"/>
                    <a:gd name="T114" fmla="*/ 173 w 270"/>
                    <a:gd name="T115"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0" h="456">
                      <a:moveTo>
                        <a:pt x="173" y="0"/>
                      </a:moveTo>
                      <a:lnTo>
                        <a:pt x="202" y="2"/>
                      </a:lnTo>
                      <a:lnTo>
                        <a:pt x="232" y="9"/>
                      </a:lnTo>
                      <a:lnTo>
                        <a:pt x="259" y="19"/>
                      </a:lnTo>
                      <a:lnTo>
                        <a:pt x="267" y="24"/>
                      </a:lnTo>
                      <a:lnTo>
                        <a:pt x="270" y="33"/>
                      </a:lnTo>
                      <a:lnTo>
                        <a:pt x="270" y="44"/>
                      </a:lnTo>
                      <a:lnTo>
                        <a:pt x="255" y="94"/>
                      </a:lnTo>
                      <a:lnTo>
                        <a:pt x="253" y="99"/>
                      </a:lnTo>
                      <a:lnTo>
                        <a:pt x="250" y="103"/>
                      </a:lnTo>
                      <a:lnTo>
                        <a:pt x="245" y="107"/>
                      </a:lnTo>
                      <a:lnTo>
                        <a:pt x="239" y="109"/>
                      </a:lnTo>
                      <a:lnTo>
                        <a:pt x="234" y="109"/>
                      </a:lnTo>
                      <a:lnTo>
                        <a:pt x="228" y="108"/>
                      </a:lnTo>
                      <a:lnTo>
                        <a:pt x="213" y="105"/>
                      </a:lnTo>
                      <a:lnTo>
                        <a:pt x="201" y="102"/>
                      </a:lnTo>
                      <a:lnTo>
                        <a:pt x="200" y="102"/>
                      </a:lnTo>
                      <a:lnTo>
                        <a:pt x="189" y="105"/>
                      </a:lnTo>
                      <a:lnTo>
                        <a:pt x="180" y="110"/>
                      </a:lnTo>
                      <a:lnTo>
                        <a:pt x="175" y="122"/>
                      </a:lnTo>
                      <a:lnTo>
                        <a:pt x="174" y="136"/>
                      </a:lnTo>
                      <a:lnTo>
                        <a:pt x="174" y="185"/>
                      </a:lnTo>
                      <a:lnTo>
                        <a:pt x="246" y="185"/>
                      </a:lnTo>
                      <a:lnTo>
                        <a:pt x="256" y="188"/>
                      </a:lnTo>
                      <a:lnTo>
                        <a:pt x="264" y="195"/>
                      </a:lnTo>
                      <a:lnTo>
                        <a:pt x="267" y="206"/>
                      </a:lnTo>
                      <a:lnTo>
                        <a:pt x="267" y="250"/>
                      </a:lnTo>
                      <a:lnTo>
                        <a:pt x="264" y="260"/>
                      </a:lnTo>
                      <a:lnTo>
                        <a:pt x="256" y="268"/>
                      </a:lnTo>
                      <a:lnTo>
                        <a:pt x="246" y="271"/>
                      </a:lnTo>
                      <a:lnTo>
                        <a:pt x="174" y="271"/>
                      </a:lnTo>
                      <a:lnTo>
                        <a:pt x="174" y="434"/>
                      </a:lnTo>
                      <a:lnTo>
                        <a:pt x="171" y="445"/>
                      </a:lnTo>
                      <a:lnTo>
                        <a:pt x="164" y="452"/>
                      </a:lnTo>
                      <a:lnTo>
                        <a:pt x="153" y="456"/>
                      </a:lnTo>
                      <a:lnTo>
                        <a:pt x="70" y="456"/>
                      </a:lnTo>
                      <a:lnTo>
                        <a:pt x="60" y="452"/>
                      </a:lnTo>
                      <a:lnTo>
                        <a:pt x="52" y="445"/>
                      </a:lnTo>
                      <a:lnTo>
                        <a:pt x="50" y="434"/>
                      </a:lnTo>
                      <a:lnTo>
                        <a:pt x="50" y="271"/>
                      </a:lnTo>
                      <a:lnTo>
                        <a:pt x="20" y="271"/>
                      </a:lnTo>
                      <a:lnTo>
                        <a:pt x="10" y="267"/>
                      </a:lnTo>
                      <a:lnTo>
                        <a:pt x="2" y="259"/>
                      </a:lnTo>
                      <a:lnTo>
                        <a:pt x="0" y="249"/>
                      </a:lnTo>
                      <a:lnTo>
                        <a:pt x="0" y="206"/>
                      </a:lnTo>
                      <a:lnTo>
                        <a:pt x="2" y="195"/>
                      </a:lnTo>
                      <a:lnTo>
                        <a:pt x="10" y="188"/>
                      </a:lnTo>
                      <a:lnTo>
                        <a:pt x="20" y="185"/>
                      </a:lnTo>
                      <a:lnTo>
                        <a:pt x="50" y="185"/>
                      </a:lnTo>
                      <a:lnTo>
                        <a:pt x="50" y="118"/>
                      </a:lnTo>
                      <a:lnTo>
                        <a:pt x="52" y="92"/>
                      </a:lnTo>
                      <a:lnTo>
                        <a:pt x="58" y="70"/>
                      </a:lnTo>
                      <a:lnTo>
                        <a:pt x="68" y="49"/>
                      </a:lnTo>
                      <a:lnTo>
                        <a:pt x="83" y="32"/>
                      </a:lnTo>
                      <a:lnTo>
                        <a:pt x="101" y="19"/>
                      </a:lnTo>
                      <a:lnTo>
                        <a:pt x="122" y="9"/>
                      </a:lnTo>
                      <a:lnTo>
                        <a:pt x="146" y="2"/>
                      </a:lnTo>
                      <a:lnTo>
                        <a:pt x="1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14"/>
                <p:cNvSpPr>
                  <a:spLocks noEditPoints="1"/>
                </p:cNvSpPr>
                <p:nvPr/>
              </p:nvSpPr>
              <p:spPr bwMode="auto">
                <a:xfrm>
                  <a:off x="3323" y="689"/>
                  <a:ext cx="620" cy="612"/>
                </a:xfrm>
                <a:custGeom>
                  <a:avLst/>
                  <a:gdLst>
                    <a:gd name="T0" fmla="*/ 516 w 3721"/>
                    <a:gd name="T1" fmla="*/ 2919 h 3673"/>
                    <a:gd name="T2" fmla="*/ 466 w 3721"/>
                    <a:gd name="T3" fmla="*/ 3302 h 3673"/>
                    <a:gd name="T4" fmla="*/ 768 w 3721"/>
                    <a:gd name="T5" fmla="*/ 3533 h 3673"/>
                    <a:gd name="T6" fmla="*/ 1123 w 3721"/>
                    <a:gd name="T7" fmla="*/ 3387 h 3673"/>
                    <a:gd name="T8" fmla="*/ 1173 w 3721"/>
                    <a:gd name="T9" fmla="*/ 3004 h 3673"/>
                    <a:gd name="T10" fmla="*/ 872 w 3721"/>
                    <a:gd name="T11" fmla="*/ 2773 h 3673"/>
                    <a:gd name="T12" fmla="*/ 1489 w 3721"/>
                    <a:gd name="T13" fmla="*/ 1088 h 3673"/>
                    <a:gd name="T14" fmla="*/ 1146 w 3721"/>
                    <a:gd name="T15" fmla="*/ 1497 h 3673"/>
                    <a:gd name="T16" fmla="*/ 1151 w 3721"/>
                    <a:gd name="T17" fmla="*/ 2061 h 3673"/>
                    <a:gd name="T18" fmla="*/ 1291 w 3721"/>
                    <a:gd name="T19" fmla="*/ 2101 h 3673"/>
                    <a:gd name="T20" fmla="*/ 1750 w 3721"/>
                    <a:gd name="T21" fmla="*/ 1840 h 3673"/>
                    <a:gd name="T22" fmla="*/ 2029 w 3721"/>
                    <a:gd name="T23" fmla="*/ 1840 h 3673"/>
                    <a:gd name="T24" fmla="*/ 2489 w 3721"/>
                    <a:gd name="T25" fmla="*/ 2101 h 3673"/>
                    <a:gd name="T26" fmla="*/ 2627 w 3721"/>
                    <a:gd name="T27" fmla="*/ 2061 h 3673"/>
                    <a:gd name="T28" fmla="*/ 2632 w 3721"/>
                    <a:gd name="T29" fmla="*/ 1497 h 3673"/>
                    <a:gd name="T30" fmla="*/ 2289 w 3721"/>
                    <a:gd name="T31" fmla="*/ 1088 h 3673"/>
                    <a:gd name="T32" fmla="*/ 469 w 3721"/>
                    <a:gd name="T33" fmla="*/ 239 h 3673"/>
                    <a:gd name="T34" fmla="*/ 167 w 3721"/>
                    <a:gd name="T35" fmla="*/ 471 h 3673"/>
                    <a:gd name="T36" fmla="*/ 217 w 3721"/>
                    <a:gd name="T37" fmla="*/ 853 h 3673"/>
                    <a:gd name="T38" fmla="*/ 572 w 3721"/>
                    <a:gd name="T39" fmla="*/ 999 h 3673"/>
                    <a:gd name="T40" fmla="*/ 874 w 3721"/>
                    <a:gd name="T41" fmla="*/ 769 h 3673"/>
                    <a:gd name="T42" fmla="*/ 824 w 3721"/>
                    <a:gd name="T43" fmla="*/ 385 h 3673"/>
                    <a:gd name="T44" fmla="*/ 3202 w 3721"/>
                    <a:gd name="T45" fmla="*/ 136 h 3673"/>
                    <a:gd name="T46" fmla="*/ 2870 w 3721"/>
                    <a:gd name="T47" fmla="*/ 327 h 3673"/>
                    <a:gd name="T48" fmla="*/ 2870 w 3721"/>
                    <a:gd name="T49" fmla="*/ 713 h 3673"/>
                    <a:gd name="T50" fmla="*/ 3202 w 3721"/>
                    <a:gd name="T51" fmla="*/ 904 h 3673"/>
                    <a:gd name="T52" fmla="*/ 3533 w 3721"/>
                    <a:gd name="T53" fmla="*/ 713 h 3673"/>
                    <a:gd name="T54" fmla="*/ 3533 w 3721"/>
                    <a:gd name="T55" fmla="*/ 327 h 3673"/>
                    <a:gd name="T56" fmla="*/ 3202 w 3721"/>
                    <a:gd name="T57" fmla="*/ 136 h 3673"/>
                    <a:gd name="T58" fmla="*/ 3569 w 3721"/>
                    <a:gd name="T59" fmla="*/ 152 h 3673"/>
                    <a:gd name="T60" fmla="*/ 3718 w 3721"/>
                    <a:gd name="T61" fmla="*/ 581 h 3673"/>
                    <a:gd name="T62" fmla="*/ 3481 w 3721"/>
                    <a:gd name="T63" fmla="*/ 959 h 3673"/>
                    <a:gd name="T64" fmla="*/ 3028 w 3721"/>
                    <a:gd name="T65" fmla="*/ 1010 h 3673"/>
                    <a:gd name="T66" fmla="*/ 2793 w 3721"/>
                    <a:gd name="T67" fmla="*/ 1409 h 3673"/>
                    <a:gd name="T68" fmla="*/ 2832 w 3721"/>
                    <a:gd name="T69" fmla="*/ 2018 h 3673"/>
                    <a:gd name="T70" fmla="*/ 2490 w 3721"/>
                    <a:gd name="T71" fmla="*/ 2540 h 3673"/>
                    <a:gd name="T72" fmla="*/ 1889 w 3721"/>
                    <a:gd name="T73" fmla="*/ 2747 h 3673"/>
                    <a:gd name="T74" fmla="*/ 1224 w 3721"/>
                    <a:gd name="T75" fmla="*/ 2825 h 3673"/>
                    <a:gd name="T76" fmla="*/ 1327 w 3721"/>
                    <a:gd name="T77" fmla="*/ 3272 h 3673"/>
                    <a:gd name="T78" fmla="*/ 1048 w 3721"/>
                    <a:gd name="T79" fmla="*/ 3620 h 3673"/>
                    <a:gd name="T80" fmla="*/ 591 w 3721"/>
                    <a:gd name="T81" fmla="*/ 3620 h 3673"/>
                    <a:gd name="T82" fmla="*/ 313 w 3721"/>
                    <a:gd name="T83" fmla="*/ 3272 h 3673"/>
                    <a:gd name="T84" fmla="*/ 414 w 3721"/>
                    <a:gd name="T85" fmla="*/ 2828 h 3673"/>
                    <a:gd name="T86" fmla="*/ 820 w 3721"/>
                    <a:gd name="T87" fmla="*/ 2632 h 3673"/>
                    <a:gd name="T88" fmla="*/ 1222 w 3721"/>
                    <a:gd name="T89" fmla="*/ 2482 h 3673"/>
                    <a:gd name="T90" fmla="*/ 928 w 3721"/>
                    <a:gd name="T91" fmla="*/ 1937 h 3673"/>
                    <a:gd name="T92" fmla="*/ 1025 w 3721"/>
                    <a:gd name="T93" fmla="*/ 1322 h 3673"/>
                    <a:gd name="T94" fmla="*/ 633 w 3721"/>
                    <a:gd name="T95" fmla="*/ 1128 h 3673"/>
                    <a:gd name="T96" fmla="*/ 195 w 3721"/>
                    <a:gd name="T97" fmla="*/ 1025 h 3673"/>
                    <a:gd name="T98" fmla="*/ 0 w 3721"/>
                    <a:gd name="T99" fmla="*/ 620 h 3673"/>
                    <a:gd name="T100" fmla="*/ 195 w 3721"/>
                    <a:gd name="T101" fmla="*/ 213 h 3673"/>
                    <a:gd name="T102" fmla="*/ 639 w 3721"/>
                    <a:gd name="T103" fmla="*/ 113 h 3673"/>
                    <a:gd name="T104" fmla="*/ 988 w 3721"/>
                    <a:gd name="T105" fmla="*/ 390 h 3673"/>
                    <a:gd name="T106" fmla="*/ 994 w 3721"/>
                    <a:gd name="T107" fmla="*/ 836 h 3673"/>
                    <a:gd name="T108" fmla="*/ 1584 w 3721"/>
                    <a:gd name="T109" fmla="*/ 848 h 3673"/>
                    <a:gd name="T110" fmla="*/ 2209 w 3721"/>
                    <a:gd name="T111" fmla="*/ 852 h 3673"/>
                    <a:gd name="T112" fmla="*/ 2726 w 3721"/>
                    <a:gd name="T113" fmla="*/ 729 h 3673"/>
                    <a:gd name="T114" fmla="*/ 2735 w 3721"/>
                    <a:gd name="T115" fmla="*/ 291 h 3673"/>
                    <a:gd name="T116" fmla="*/ 3082 w 3721"/>
                    <a:gd name="T117" fmla="*/ 13 h 3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21" h="3673">
                      <a:moveTo>
                        <a:pt x="820" y="2769"/>
                      </a:moveTo>
                      <a:lnTo>
                        <a:pt x="768" y="2773"/>
                      </a:lnTo>
                      <a:lnTo>
                        <a:pt x="718" y="2784"/>
                      </a:lnTo>
                      <a:lnTo>
                        <a:pt x="671" y="2799"/>
                      </a:lnTo>
                      <a:lnTo>
                        <a:pt x="627" y="2822"/>
                      </a:lnTo>
                      <a:lnTo>
                        <a:pt x="585" y="2849"/>
                      </a:lnTo>
                      <a:lnTo>
                        <a:pt x="549" y="2882"/>
                      </a:lnTo>
                      <a:lnTo>
                        <a:pt x="516" y="2919"/>
                      </a:lnTo>
                      <a:lnTo>
                        <a:pt x="489" y="2960"/>
                      </a:lnTo>
                      <a:lnTo>
                        <a:pt x="466" y="3004"/>
                      </a:lnTo>
                      <a:lnTo>
                        <a:pt x="449" y="3051"/>
                      </a:lnTo>
                      <a:lnTo>
                        <a:pt x="439" y="3101"/>
                      </a:lnTo>
                      <a:lnTo>
                        <a:pt x="436" y="3153"/>
                      </a:lnTo>
                      <a:lnTo>
                        <a:pt x="439" y="3205"/>
                      </a:lnTo>
                      <a:lnTo>
                        <a:pt x="449" y="3254"/>
                      </a:lnTo>
                      <a:lnTo>
                        <a:pt x="466" y="3302"/>
                      </a:lnTo>
                      <a:lnTo>
                        <a:pt x="489" y="3346"/>
                      </a:lnTo>
                      <a:lnTo>
                        <a:pt x="516" y="3387"/>
                      </a:lnTo>
                      <a:lnTo>
                        <a:pt x="549" y="3424"/>
                      </a:lnTo>
                      <a:lnTo>
                        <a:pt x="585" y="3456"/>
                      </a:lnTo>
                      <a:lnTo>
                        <a:pt x="627" y="3483"/>
                      </a:lnTo>
                      <a:lnTo>
                        <a:pt x="671" y="3506"/>
                      </a:lnTo>
                      <a:lnTo>
                        <a:pt x="718" y="3523"/>
                      </a:lnTo>
                      <a:lnTo>
                        <a:pt x="768" y="3533"/>
                      </a:lnTo>
                      <a:lnTo>
                        <a:pt x="820" y="3536"/>
                      </a:lnTo>
                      <a:lnTo>
                        <a:pt x="872" y="3533"/>
                      </a:lnTo>
                      <a:lnTo>
                        <a:pt x="921" y="3523"/>
                      </a:lnTo>
                      <a:lnTo>
                        <a:pt x="969" y="3506"/>
                      </a:lnTo>
                      <a:lnTo>
                        <a:pt x="1013" y="3483"/>
                      </a:lnTo>
                      <a:lnTo>
                        <a:pt x="1053" y="3456"/>
                      </a:lnTo>
                      <a:lnTo>
                        <a:pt x="1091" y="3424"/>
                      </a:lnTo>
                      <a:lnTo>
                        <a:pt x="1123" y="3387"/>
                      </a:lnTo>
                      <a:lnTo>
                        <a:pt x="1151" y="3346"/>
                      </a:lnTo>
                      <a:lnTo>
                        <a:pt x="1173" y="3302"/>
                      </a:lnTo>
                      <a:lnTo>
                        <a:pt x="1190" y="3254"/>
                      </a:lnTo>
                      <a:lnTo>
                        <a:pt x="1200" y="3205"/>
                      </a:lnTo>
                      <a:lnTo>
                        <a:pt x="1204" y="3153"/>
                      </a:lnTo>
                      <a:lnTo>
                        <a:pt x="1200" y="3101"/>
                      </a:lnTo>
                      <a:lnTo>
                        <a:pt x="1190" y="3051"/>
                      </a:lnTo>
                      <a:lnTo>
                        <a:pt x="1173" y="3004"/>
                      </a:lnTo>
                      <a:lnTo>
                        <a:pt x="1151" y="2960"/>
                      </a:lnTo>
                      <a:lnTo>
                        <a:pt x="1123" y="2919"/>
                      </a:lnTo>
                      <a:lnTo>
                        <a:pt x="1091" y="2882"/>
                      </a:lnTo>
                      <a:lnTo>
                        <a:pt x="1053" y="2849"/>
                      </a:lnTo>
                      <a:lnTo>
                        <a:pt x="1013" y="2822"/>
                      </a:lnTo>
                      <a:lnTo>
                        <a:pt x="969" y="2799"/>
                      </a:lnTo>
                      <a:lnTo>
                        <a:pt x="921" y="2784"/>
                      </a:lnTo>
                      <a:lnTo>
                        <a:pt x="872" y="2773"/>
                      </a:lnTo>
                      <a:lnTo>
                        <a:pt x="820" y="2769"/>
                      </a:lnTo>
                      <a:close/>
                      <a:moveTo>
                        <a:pt x="1889" y="980"/>
                      </a:moveTo>
                      <a:lnTo>
                        <a:pt x="1817" y="983"/>
                      </a:lnTo>
                      <a:lnTo>
                        <a:pt x="1747" y="993"/>
                      </a:lnTo>
                      <a:lnTo>
                        <a:pt x="1679" y="1009"/>
                      </a:lnTo>
                      <a:lnTo>
                        <a:pt x="1612" y="1029"/>
                      </a:lnTo>
                      <a:lnTo>
                        <a:pt x="1550" y="1056"/>
                      </a:lnTo>
                      <a:lnTo>
                        <a:pt x="1489" y="1088"/>
                      </a:lnTo>
                      <a:lnTo>
                        <a:pt x="1433" y="1125"/>
                      </a:lnTo>
                      <a:lnTo>
                        <a:pt x="1379" y="1167"/>
                      </a:lnTo>
                      <a:lnTo>
                        <a:pt x="1329" y="1212"/>
                      </a:lnTo>
                      <a:lnTo>
                        <a:pt x="1283" y="1262"/>
                      </a:lnTo>
                      <a:lnTo>
                        <a:pt x="1242" y="1316"/>
                      </a:lnTo>
                      <a:lnTo>
                        <a:pt x="1205" y="1372"/>
                      </a:lnTo>
                      <a:lnTo>
                        <a:pt x="1173" y="1433"/>
                      </a:lnTo>
                      <a:lnTo>
                        <a:pt x="1146" y="1497"/>
                      </a:lnTo>
                      <a:lnTo>
                        <a:pt x="1125" y="1562"/>
                      </a:lnTo>
                      <a:lnTo>
                        <a:pt x="1109" y="1631"/>
                      </a:lnTo>
                      <a:lnTo>
                        <a:pt x="1100" y="1701"/>
                      </a:lnTo>
                      <a:lnTo>
                        <a:pt x="1096" y="1773"/>
                      </a:lnTo>
                      <a:lnTo>
                        <a:pt x="1100" y="1848"/>
                      </a:lnTo>
                      <a:lnTo>
                        <a:pt x="1111" y="1921"/>
                      </a:lnTo>
                      <a:lnTo>
                        <a:pt x="1128" y="1992"/>
                      </a:lnTo>
                      <a:lnTo>
                        <a:pt x="1151" y="2061"/>
                      </a:lnTo>
                      <a:lnTo>
                        <a:pt x="1180" y="2127"/>
                      </a:lnTo>
                      <a:lnTo>
                        <a:pt x="1215" y="2189"/>
                      </a:lnTo>
                      <a:lnTo>
                        <a:pt x="1254" y="2247"/>
                      </a:lnTo>
                      <a:lnTo>
                        <a:pt x="1260" y="2216"/>
                      </a:lnTo>
                      <a:lnTo>
                        <a:pt x="1266" y="2184"/>
                      </a:lnTo>
                      <a:lnTo>
                        <a:pt x="1272" y="2154"/>
                      </a:lnTo>
                      <a:lnTo>
                        <a:pt x="1280" y="2125"/>
                      </a:lnTo>
                      <a:lnTo>
                        <a:pt x="1291" y="2101"/>
                      </a:lnTo>
                      <a:lnTo>
                        <a:pt x="1301" y="2078"/>
                      </a:lnTo>
                      <a:lnTo>
                        <a:pt x="1313" y="2059"/>
                      </a:lnTo>
                      <a:lnTo>
                        <a:pt x="1327" y="2044"/>
                      </a:lnTo>
                      <a:lnTo>
                        <a:pt x="1342" y="2035"/>
                      </a:lnTo>
                      <a:lnTo>
                        <a:pt x="1651" y="1912"/>
                      </a:lnTo>
                      <a:lnTo>
                        <a:pt x="1723" y="1851"/>
                      </a:lnTo>
                      <a:lnTo>
                        <a:pt x="1735" y="1843"/>
                      </a:lnTo>
                      <a:lnTo>
                        <a:pt x="1750" y="1840"/>
                      </a:lnTo>
                      <a:lnTo>
                        <a:pt x="1764" y="1841"/>
                      </a:lnTo>
                      <a:lnTo>
                        <a:pt x="1777" y="1845"/>
                      </a:lnTo>
                      <a:lnTo>
                        <a:pt x="1788" y="1853"/>
                      </a:lnTo>
                      <a:lnTo>
                        <a:pt x="1889" y="1954"/>
                      </a:lnTo>
                      <a:lnTo>
                        <a:pt x="1989" y="1853"/>
                      </a:lnTo>
                      <a:lnTo>
                        <a:pt x="2002" y="1845"/>
                      </a:lnTo>
                      <a:lnTo>
                        <a:pt x="2014" y="1841"/>
                      </a:lnTo>
                      <a:lnTo>
                        <a:pt x="2029" y="1840"/>
                      </a:lnTo>
                      <a:lnTo>
                        <a:pt x="2043" y="1843"/>
                      </a:lnTo>
                      <a:lnTo>
                        <a:pt x="2055" y="1851"/>
                      </a:lnTo>
                      <a:lnTo>
                        <a:pt x="2127" y="1912"/>
                      </a:lnTo>
                      <a:lnTo>
                        <a:pt x="2435" y="2035"/>
                      </a:lnTo>
                      <a:lnTo>
                        <a:pt x="2451" y="2044"/>
                      </a:lnTo>
                      <a:lnTo>
                        <a:pt x="2465" y="2059"/>
                      </a:lnTo>
                      <a:lnTo>
                        <a:pt x="2477" y="2078"/>
                      </a:lnTo>
                      <a:lnTo>
                        <a:pt x="2489" y="2101"/>
                      </a:lnTo>
                      <a:lnTo>
                        <a:pt x="2498" y="2125"/>
                      </a:lnTo>
                      <a:lnTo>
                        <a:pt x="2505" y="2154"/>
                      </a:lnTo>
                      <a:lnTo>
                        <a:pt x="2512" y="2184"/>
                      </a:lnTo>
                      <a:lnTo>
                        <a:pt x="2519" y="2216"/>
                      </a:lnTo>
                      <a:lnTo>
                        <a:pt x="2524" y="2247"/>
                      </a:lnTo>
                      <a:lnTo>
                        <a:pt x="2564" y="2189"/>
                      </a:lnTo>
                      <a:lnTo>
                        <a:pt x="2598" y="2127"/>
                      </a:lnTo>
                      <a:lnTo>
                        <a:pt x="2627" y="2061"/>
                      </a:lnTo>
                      <a:lnTo>
                        <a:pt x="2651" y="1992"/>
                      </a:lnTo>
                      <a:lnTo>
                        <a:pt x="2668" y="1921"/>
                      </a:lnTo>
                      <a:lnTo>
                        <a:pt x="2678" y="1848"/>
                      </a:lnTo>
                      <a:lnTo>
                        <a:pt x="2682" y="1773"/>
                      </a:lnTo>
                      <a:lnTo>
                        <a:pt x="2678" y="1701"/>
                      </a:lnTo>
                      <a:lnTo>
                        <a:pt x="2669" y="1631"/>
                      </a:lnTo>
                      <a:lnTo>
                        <a:pt x="2653" y="1562"/>
                      </a:lnTo>
                      <a:lnTo>
                        <a:pt x="2632" y="1497"/>
                      </a:lnTo>
                      <a:lnTo>
                        <a:pt x="2606" y="1433"/>
                      </a:lnTo>
                      <a:lnTo>
                        <a:pt x="2573" y="1374"/>
                      </a:lnTo>
                      <a:lnTo>
                        <a:pt x="2537" y="1316"/>
                      </a:lnTo>
                      <a:lnTo>
                        <a:pt x="2495" y="1262"/>
                      </a:lnTo>
                      <a:lnTo>
                        <a:pt x="2449" y="1212"/>
                      </a:lnTo>
                      <a:lnTo>
                        <a:pt x="2399" y="1167"/>
                      </a:lnTo>
                      <a:lnTo>
                        <a:pt x="2346" y="1125"/>
                      </a:lnTo>
                      <a:lnTo>
                        <a:pt x="2289" y="1088"/>
                      </a:lnTo>
                      <a:lnTo>
                        <a:pt x="2229" y="1056"/>
                      </a:lnTo>
                      <a:lnTo>
                        <a:pt x="2166" y="1029"/>
                      </a:lnTo>
                      <a:lnTo>
                        <a:pt x="2100" y="1009"/>
                      </a:lnTo>
                      <a:lnTo>
                        <a:pt x="2031" y="993"/>
                      </a:lnTo>
                      <a:lnTo>
                        <a:pt x="1961" y="983"/>
                      </a:lnTo>
                      <a:lnTo>
                        <a:pt x="1889" y="980"/>
                      </a:lnTo>
                      <a:close/>
                      <a:moveTo>
                        <a:pt x="521" y="236"/>
                      </a:moveTo>
                      <a:lnTo>
                        <a:pt x="469" y="239"/>
                      </a:lnTo>
                      <a:lnTo>
                        <a:pt x="419" y="249"/>
                      </a:lnTo>
                      <a:lnTo>
                        <a:pt x="371" y="266"/>
                      </a:lnTo>
                      <a:lnTo>
                        <a:pt x="326" y="288"/>
                      </a:lnTo>
                      <a:lnTo>
                        <a:pt x="286" y="316"/>
                      </a:lnTo>
                      <a:lnTo>
                        <a:pt x="250" y="349"/>
                      </a:lnTo>
                      <a:lnTo>
                        <a:pt x="217" y="385"/>
                      </a:lnTo>
                      <a:lnTo>
                        <a:pt x="189" y="425"/>
                      </a:lnTo>
                      <a:lnTo>
                        <a:pt x="167" y="471"/>
                      </a:lnTo>
                      <a:lnTo>
                        <a:pt x="150" y="518"/>
                      </a:lnTo>
                      <a:lnTo>
                        <a:pt x="140" y="568"/>
                      </a:lnTo>
                      <a:lnTo>
                        <a:pt x="137" y="620"/>
                      </a:lnTo>
                      <a:lnTo>
                        <a:pt x="140" y="672"/>
                      </a:lnTo>
                      <a:lnTo>
                        <a:pt x="150" y="721"/>
                      </a:lnTo>
                      <a:lnTo>
                        <a:pt x="167" y="769"/>
                      </a:lnTo>
                      <a:lnTo>
                        <a:pt x="189" y="813"/>
                      </a:lnTo>
                      <a:lnTo>
                        <a:pt x="217" y="853"/>
                      </a:lnTo>
                      <a:lnTo>
                        <a:pt x="250" y="890"/>
                      </a:lnTo>
                      <a:lnTo>
                        <a:pt x="286" y="923"/>
                      </a:lnTo>
                      <a:lnTo>
                        <a:pt x="326" y="950"/>
                      </a:lnTo>
                      <a:lnTo>
                        <a:pt x="371" y="973"/>
                      </a:lnTo>
                      <a:lnTo>
                        <a:pt x="419" y="989"/>
                      </a:lnTo>
                      <a:lnTo>
                        <a:pt x="469" y="999"/>
                      </a:lnTo>
                      <a:lnTo>
                        <a:pt x="521" y="1003"/>
                      </a:lnTo>
                      <a:lnTo>
                        <a:pt x="572" y="999"/>
                      </a:lnTo>
                      <a:lnTo>
                        <a:pt x="622" y="989"/>
                      </a:lnTo>
                      <a:lnTo>
                        <a:pt x="670" y="973"/>
                      </a:lnTo>
                      <a:lnTo>
                        <a:pt x="714" y="950"/>
                      </a:lnTo>
                      <a:lnTo>
                        <a:pt x="754" y="923"/>
                      </a:lnTo>
                      <a:lnTo>
                        <a:pt x="791" y="890"/>
                      </a:lnTo>
                      <a:lnTo>
                        <a:pt x="824" y="853"/>
                      </a:lnTo>
                      <a:lnTo>
                        <a:pt x="851" y="813"/>
                      </a:lnTo>
                      <a:lnTo>
                        <a:pt x="874" y="769"/>
                      </a:lnTo>
                      <a:lnTo>
                        <a:pt x="890" y="721"/>
                      </a:lnTo>
                      <a:lnTo>
                        <a:pt x="900" y="672"/>
                      </a:lnTo>
                      <a:lnTo>
                        <a:pt x="904" y="620"/>
                      </a:lnTo>
                      <a:lnTo>
                        <a:pt x="900" y="568"/>
                      </a:lnTo>
                      <a:lnTo>
                        <a:pt x="890" y="518"/>
                      </a:lnTo>
                      <a:lnTo>
                        <a:pt x="874" y="471"/>
                      </a:lnTo>
                      <a:lnTo>
                        <a:pt x="851" y="425"/>
                      </a:lnTo>
                      <a:lnTo>
                        <a:pt x="824" y="385"/>
                      </a:lnTo>
                      <a:lnTo>
                        <a:pt x="791" y="349"/>
                      </a:lnTo>
                      <a:lnTo>
                        <a:pt x="754" y="316"/>
                      </a:lnTo>
                      <a:lnTo>
                        <a:pt x="714" y="288"/>
                      </a:lnTo>
                      <a:lnTo>
                        <a:pt x="670" y="266"/>
                      </a:lnTo>
                      <a:lnTo>
                        <a:pt x="622" y="249"/>
                      </a:lnTo>
                      <a:lnTo>
                        <a:pt x="572" y="239"/>
                      </a:lnTo>
                      <a:lnTo>
                        <a:pt x="521" y="236"/>
                      </a:lnTo>
                      <a:close/>
                      <a:moveTo>
                        <a:pt x="3202" y="136"/>
                      </a:moveTo>
                      <a:lnTo>
                        <a:pt x="3150" y="140"/>
                      </a:lnTo>
                      <a:lnTo>
                        <a:pt x="3099" y="150"/>
                      </a:lnTo>
                      <a:lnTo>
                        <a:pt x="3053" y="167"/>
                      </a:lnTo>
                      <a:lnTo>
                        <a:pt x="3008" y="190"/>
                      </a:lnTo>
                      <a:lnTo>
                        <a:pt x="2967" y="217"/>
                      </a:lnTo>
                      <a:lnTo>
                        <a:pt x="2931" y="249"/>
                      </a:lnTo>
                      <a:lnTo>
                        <a:pt x="2898" y="285"/>
                      </a:lnTo>
                      <a:lnTo>
                        <a:pt x="2870" y="327"/>
                      </a:lnTo>
                      <a:lnTo>
                        <a:pt x="2849" y="371"/>
                      </a:lnTo>
                      <a:lnTo>
                        <a:pt x="2832" y="419"/>
                      </a:lnTo>
                      <a:lnTo>
                        <a:pt x="2822" y="468"/>
                      </a:lnTo>
                      <a:lnTo>
                        <a:pt x="2818" y="520"/>
                      </a:lnTo>
                      <a:lnTo>
                        <a:pt x="2822" y="572"/>
                      </a:lnTo>
                      <a:lnTo>
                        <a:pt x="2832" y="622"/>
                      </a:lnTo>
                      <a:lnTo>
                        <a:pt x="2849" y="669"/>
                      </a:lnTo>
                      <a:lnTo>
                        <a:pt x="2870" y="713"/>
                      </a:lnTo>
                      <a:lnTo>
                        <a:pt x="2898" y="754"/>
                      </a:lnTo>
                      <a:lnTo>
                        <a:pt x="2931" y="791"/>
                      </a:lnTo>
                      <a:lnTo>
                        <a:pt x="2967" y="824"/>
                      </a:lnTo>
                      <a:lnTo>
                        <a:pt x="3008" y="851"/>
                      </a:lnTo>
                      <a:lnTo>
                        <a:pt x="3053" y="874"/>
                      </a:lnTo>
                      <a:lnTo>
                        <a:pt x="3099" y="889"/>
                      </a:lnTo>
                      <a:lnTo>
                        <a:pt x="3150" y="900"/>
                      </a:lnTo>
                      <a:lnTo>
                        <a:pt x="3202" y="904"/>
                      </a:lnTo>
                      <a:lnTo>
                        <a:pt x="3254" y="900"/>
                      </a:lnTo>
                      <a:lnTo>
                        <a:pt x="3304" y="889"/>
                      </a:lnTo>
                      <a:lnTo>
                        <a:pt x="3351" y="874"/>
                      </a:lnTo>
                      <a:lnTo>
                        <a:pt x="3395" y="851"/>
                      </a:lnTo>
                      <a:lnTo>
                        <a:pt x="3436" y="824"/>
                      </a:lnTo>
                      <a:lnTo>
                        <a:pt x="3473" y="791"/>
                      </a:lnTo>
                      <a:lnTo>
                        <a:pt x="3506" y="754"/>
                      </a:lnTo>
                      <a:lnTo>
                        <a:pt x="3533" y="713"/>
                      </a:lnTo>
                      <a:lnTo>
                        <a:pt x="3556" y="669"/>
                      </a:lnTo>
                      <a:lnTo>
                        <a:pt x="3571" y="622"/>
                      </a:lnTo>
                      <a:lnTo>
                        <a:pt x="3581" y="572"/>
                      </a:lnTo>
                      <a:lnTo>
                        <a:pt x="3585" y="520"/>
                      </a:lnTo>
                      <a:lnTo>
                        <a:pt x="3581" y="468"/>
                      </a:lnTo>
                      <a:lnTo>
                        <a:pt x="3571" y="419"/>
                      </a:lnTo>
                      <a:lnTo>
                        <a:pt x="3556" y="371"/>
                      </a:lnTo>
                      <a:lnTo>
                        <a:pt x="3533" y="327"/>
                      </a:lnTo>
                      <a:lnTo>
                        <a:pt x="3506" y="285"/>
                      </a:lnTo>
                      <a:lnTo>
                        <a:pt x="3473" y="249"/>
                      </a:lnTo>
                      <a:lnTo>
                        <a:pt x="3436" y="217"/>
                      </a:lnTo>
                      <a:lnTo>
                        <a:pt x="3395" y="190"/>
                      </a:lnTo>
                      <a:lnTo>
                        <a:pt x="3351" y="167"/>
                      </a:lnTo>
                      <a:lnTo>
                        <a:pt x="3304" y="150"/>
                      </a:lnTo>
                      <a:lnTo>
                        <a:pt x="3254" y="140"/>
                      </a:lnTo>
                      <a:lnTo>
                        <a:pt x="3202" y="136"/>
                      </a:lnTo>
                      <a:close/>
                      <a:moveTo>
                        <a:pt x="3202" y="0"/>
                      </a:moveTo>
                      <a:lnTo>
                        <a:pt x="3262" y="3"/>
                      </a:lnTo>
                      <a:lnTo>
                        <a:pt x="3321" y="13"/>
                      </a:lnTo>
                      <a:lnTo>
                        <a:pt x="3377" y="30"/>
                      </a:lnTo>
                      <a:lnTo>
                        <a:pt x="3430" y="53"/>
                      </a:lnTo>
                      <a:lnTo>
                        <a:pt x="3481" y="81"/>
                      </a:lnTo>
                      <a:lnTo>
                        <a:pt x="3527" y="114"/>
                      </a:lnTo>
                      <a:lnTo>
                        <a:pt x="3569" y="152"/>
                      </a:lnTo>
                      <a:lnTo>
                        <a:pt x="3607" y="195"/>
                      </a:lnTo>
                      <a:lnTo>
                        <a:pt x="3641" y="241"/>
                      </a:lnTo>
                      <a:lnTo>
                        <a:pt x="3670" y="291"/>
                      </a:lnTo>
                      <a:lnTo>
                        <a:pt x="3692" y="345"/>
                      </a:lnTo>
                      <a:lnTo>
                        <a:pt x="3708" y="401"/>
                      </a:lnTo>
                      <a:lnTo>
                        <a:pt x="3718" y="459"/>
                      </a:lnTo>
                      <a:lnTo>
                        <a:pt x="3721" y="520"/>
                      </a:lnTo>
                      <a:lnTo>
                        <a:pt x="3718" y="581"/>
                      </a:lnTo>
                      <a:lnTo>
                        <a:pt x="3708" y="639"/>
                      </a:lnTo>
                      <a:lnTo>
                        <a:pt x="3692" y="695"/>
                      </a:lnTo>
                      <a:lnTo>
                        <a:pt x="3670" y="748"/>
                      </a:lnTo>
                      <a:lnTo>
                        <a:pt x="3641" y="799"/>
                      </a:lnTo>
                      <a:lnTo>
                        <a:pt x="3607" y="845"/>
                      </a:lnTo>
                      <a:lnTo>
                        <a:pt x="3569" y="888"/>
                      </a:lnTo>
                      <a:lnTo>
                        <a:pt x="3527" y="925"/>
                      </a:lnTo>
                      <a:lnTo>
                        <a:pt x="3481" y="959"/>
                      </a:lnTo>
                      <a:lnTo>
                        <a:pt x="3430" y="988"/>
                      </a:lnTo>
                      <a:lnTo>
                        <a:pt x="3377" y="1010"/>
                      </a:lnTo>
                      <a:lnTo>
                        <a:pt x="3321" y="1027"/>
                      </a:lnTo>
                      <a:lnTo>
                        <a:pt x="3262" y="1037"/>
                      </a:lnTo>
                      <a:lnTo>
                        <a:pt x="3202" y="1041"/>
                      </a:lnTo>
                      <a:lnTo>
                        <a:pt x="3142" y="1037"/>
                      </a:lnTo>
                      <a:lnTo>
                        <a:pt x="3084" y="1027"/>
                      </a:lnTo>
                      <a:lnTo>
                        <a:pt x="3028" y="1010"/>
                      </a:lnTo>
                      <a:lnTo>
                        <a:pt x="2975" y="989"/>
                      </a:lnTo>
                      <a:lnTo>
                        <a:pt x="2925" y="960"/>
                      </a:lnTo>
                      <a:lnTo>
                        <a:pt x="2879" y="928"/>
                      </a:lnTo>
                      <a:lnTo>
                        <a:pt x="2647" y="1160"/>
                      </a:lnTo>
                      <a:lnTo>
                        <a:pt x="2689" y="1218"/>
                      </a:lnTo>
                      <a:lnTo>
                        <a:pt x="2729" y="1279"/>
                      </a:lnTo>
                      <a:lnTo>
                        <a:pt x="2763" y="1342"/>
                      </a:lnTo>
                      <a:lnTo>
                        <a:pt x="2793" y="1409"/>
                      </a:lnTo>
                      <a:lnTo>
                        <a:pt x="2818" y="1477"/>
                      </a:lnTo>
                      <a:lnTo>
                        <a:pt x="2837" y="1549"/>
                      </a:lnTo>
                      <a:lnTo>
                        <a:pt x="2852" y="1622"/>
                      </a:lnTo>
                      <a:lnTo>
                        <a:pt x="2861" y="1696"/>
                      </a:lnTo>
                      <a:lnTo>
                        <a:pt x="2863" y="1773"/>
                      </a:lnTo>
                      <a:lnTo>
                        <a:pt x="2860" y="1857"/>
                      </a:lnTo>
                      <a:lnTo>
                        <a:pt x="2850" y="1939"/>
                      </a:lnTo>
                      <a:lnTo>
                        <a:pt x="2832" y="2018"/>
                      </a:lnTo>
                      <a:lnTo>
                        <a:pt x="2809" y="2096"/>
                      </a:lnTo>
                      <a:lnTo>
                        <a:pt x="2779" y="2169"/>
                      </a:lnTo>
                      <a:lnTo>
                        <a:pt x="2744" y="2242"/>
                      </a:lnTo>
                      <a:lnTo>
                        <a:pt x="2703" y="2309"/>
                      </a:lnTo>
                      <a:lnTo>
                        <a:pt x="2657" y="2373"/>
                      </a:lnTo>
                      <a:lnTo>
                        <a:pt x="2605" y="2432"/>
                      </a:lnTo>
                      <a:lnTo>
                        <a:pt x="2549" y="2489"/>
                      </a:lnTo>
                      <a:lnTo>
                        <a:pt x="2490" y="2540"/>
                      </a:lnTo>
                      <a:lnTo>
                        <a:pt x="2425" y="2586"/>
                      </a:lnTo>
                      <a:lnTo>
                        <a:pt x="2358" y="2627"/>
                      </a:lnTo>
                      <a:lnTo>
                        <a:pt x="2286" y="2663"/>
                      </a:lnTo>
                      <a:lnTo>
                        <a:pt x="2212" y="2692"/>
                      </a:lnTo>
                      <a:lnTo>
                        <a:pt x="2135" y="2716"/>
                      </a:lnTo>
                      <a:lnTo>
                        <a:pt x="2055" y="2733"/>
                      </a:lnTo>
                      <a:lnTo>
                        <a:pt x="1974" y="2743"/>
                      </a:lnTo>
                      <a:lnTo>
                        <a:pt x="1889" y="2747"/>
                      </a:lnTo>
                      <a:lnTo>
                        <a:pt x="1814" y="2744"/>
                      </a:lnTo>
                      <a:lnTo>
                        <a:pt x="1741" y="2736"/>
                      </a:lnTo>
                      <a:lnTo>
                        <a:pt x="1670" y="2723"/>
                      </a:lnTo>
                      <a:lnTo>
                        <a:pt x="1600" y="2703"/>
                      </a:lnTo>
                      <a:lnTo>
                        <a:pt x="1533" y="2680"/>
                      </a:lnTo>
                      <a:lnTo>
                        <a:pt x="1468" y="2651"/>
                      </a:lnTo>
                      <a:lnTo>
                        <a:pt x="1406" y="2619"/>
                      </a:lnTo>
                      <a:lnTo>
                        <a:pt x="1224" y="2825"/>
                      </a:lnTo>
                      <a:lnTo>
                        <a:pt x="1258" y="2872"/>
                      </a:lnTo>
                      <a:lnTo>
                        <a:pt x="1286" y="2922"/>
                      </a:lnTo>
                      <a:lnTo>
                        <a:pt x="1309" y="2977"/>
                      </a:lnTo>
                      <a:lnTo>
                        <a:pt x="1326" y="3033"/>
                      </a:lnTo>
                      <a:lnTo>
                        <a:pt x="1337" y="3092"/>
                      </a:lnTo>
                      <a:lnTo>
                        <a:pt x="1340" y="3153"/>
                      </a:lnTo>
                      <a:lnTo>
                        <a:pt x="1337" y="3214"/>
                      </a:lnTo>
                      <a:lnTo>
                        <a:pt x="1327" y="3272"/>
                      </a:lnTo>
                      <a:lnTo>
                        <a:pt x="1310" y="3328"/>
                      </a:lnTo>
                      <a:lnTo>
                        <a:pt x="1287" y="3382"/>
                      </a:lnTo>
                      <a:lnTo>
                        <a:pt x="1259" y="3431"/>
                      </a:lnTo>
                      <a:lnTo>
                        <a:pt x="1225" y="3478"/>
                      </a:lnTo>
                      <a:lnTo>
                        <a:pt x="1188" y="3521"/>
                      </a:lnTo>
                      <a:lnTo>
                        <a:pt x="1145" y="3559"/>
                      </a:lnTo>
                      <a:lnTo>
                        <a:pt x="1099" y="3592"/>
                      </a:lnTo>
                      <a:lnTo>
                        <a:pt x="1048" y="3620"/>
                      </a:lnTo>
                      <a:lnTo>
                        <a:pt x="995" y="3643"/>
                      </a:lnTo>
                      <a:lnTo>
                        <a:pt x="938" y="3659"/>
                      </a:lnTo>
                      <a:lnTo>
                        <a:pt x="881" y="3670"/>
                      </a:lnTo>
                      <a:lnTo>
                        <a:pt x="820" y="3673"/>
                      </a:lnTo>
                      <a:lnTo>
                        <a:pt x="759" y="3670"/>
                      </a:lnTo>
                      <a:lnTo>
                        <a:pt x="700" y="3659"/>
                      </a:lnTo>
                      <a:lnTo>
                        <a:pt x="645" y="3643"/>
                      </a:lnTo>
                      <a:lnTo>
                        <a:pt x="591" y="3620"/>
                      </a:lnTo>
                      <a:lnTo>
                        <a:pt x="541" y="3592"/>
                      </a:lnTo>
                      <a:lnTo>
                        <a:pt x="495" y="3559"/>
                      </a:lnTo>
                      <a:lnTo>
                        <a:pt x="452" y="3521"/>
                      </a:lnTo>
                      <a:lnTo>
                        <a:pt x="414" y="3478"/>
                      </a:lnTo>
                      <a:lnTo>
                        <a:pt x="381" y="3431"/>
                      </a:lnTo>
                      <a:lnTo>
                        <a:pt x="352" y="3382"/>
                      </a:lnTo>
                      <a:lnTo>
                        <a:pt x="330" y="3328"/>
                      </a:lnTo>
                      <a:lnTo>
                        <a:pt x="313" y="3272"/>
                      </a:lnTo>
                      <a:lnTo>
                        <a:pt x="303" y="3214"/>
                      </a:lnTo>
                      <a:lnTo>
                        <a:pt x="299" y="3153"/>
                      </a:lnTo>
                      <a:lnTo>
                        <a:pt x="303" y="3092"/>
                      </a:lnTo>
                      <a:lnTo>
                        <a:pt x="313" y="3034"/>
                      </a:lnTo>
                      <a:lnTo>
                        <a:pt x="330" y="2978"/>
                      </a:lnTo>
                      <a:lnTo>
                        <a:pt x="352" y="2925"/>
                      </a:lnTo>
                      <a:lnTo>
                        <a:pt x="381" y="2874"/>
                      </a:lnTo>
                      <a:lnTo>
                        <a:pt x="414" y="2828"/>
                      </a:lnTo>
                      <a:lnTo>
                        <a:pt x="452" y="2785"/>
                      </a:lnTo>
                      <a:lnTo>
                        <a:pt x="495" y="2747"/>
                      </a:lnTo>
                      <a:lnTo>
                        <a:pt x="541" y="2714"/>
                      </a:lnTo>
                      <a:lnTo>
                        <a:pt x="591" y="2685"/>
                      </a:lnTo>
                      <a:lnTo>
                        <a:pt x="645" y="2663"/>
                      </a:lnTo>
                      <a:lnTo>
                        <a:pt x="700" y="2646"/>
                      </a:lnTo>
                      <a:lnTo>
                        <a:pt x="759" y="2636"/>
                      </a:lnTo>
                      <a:lnTo>
                        <a:pt x="820" y="2632"/>
                      </a:lnTo>
                      <a:lnTo>
                        <a:pt x="874" y="2636"/>
                      </a:lnTo>
                      <a:lnTo>
                        <a:pt x="926" y="2644"/>
                      </a:lnTo>
                      <a:lnTo>
                        <a:pt x="976" y="2657"/>
                      </a:lnTo>
                      <a:lnTo>
                        <a:pt x="1024" y="2674"/>
                      </a:lnTo>
                      <a:lnTo>
                        <a:pt x="1070" y="2697"/>
                      </a:lnTo>
                      <a:lnTo>
                        <a:pt x="1113" y="2724"/>
                      </a:lnTo>
                      <a:lnTo>
                        <a:pt x="1280" y="2533"/>
                      </a:lnTo>
                      <a:lnTo>
                        <a:pt x="1222" y="2482"/>
                      </a:lnTo>
                      <a:lnTo>
                        <a:pt x="1167" y="2427"/>
                      </a:lnTo>
                      <a:lnTo>
                        <a:pt x="1118" y="2367"/>
                      </a:lnTo>
                      <a:lnTo>
                        <a:pt x="1073" y="2304"/>
                      </a:lnTo>
                      <a:lnTo>
                        <a:pt x="1032" y="2236"/>
                      </a:lnTo>
                      <a:lnTo>
                        <a:pt x="997" y="2166"/>
                      </a:lnTo>
                      <a:lnTo>
                        <a:pt x="969" y="2092"/>
                      </a:lnTo>
                      <a:lnTo>
                        <a:pt x="945" y="2016"/>
                      </a:lnTo>
                      <a:lnTo>
                        <a:pt x="928" y="1937"/>
                      </a:lnTo>
                      <a:lnTo>
                        <a:pt x="918" y="1856"/>
                      </a:lnTo>
                      <a:lnTo>
                        <a:pt x="915" y="1773"/>
                      </a:lnTo>
                      <a:lnTo>
                        <a:pt x="918" y="1692"/>
                      </a:lnTo>
                      <a:lnTo>
                        <a:pt x="928" y="1613"/>
                      </a:lnTo>
                      <a:lnTo>
                        <a:pt x="944" y="1537"/>
                      </a:lnTo>
                      <a:lnTo>
                        <a:pt x="965" y="1463"/>
                      </a:lnTo>
                      <a:lnTo>
                        <a:pt x="992" y="1391"/>
                      </a:lnTo>
                      <a:lnTo>
                        <a:pt x="1025" y="1322"/>
                      </a:lnTo>
                      <a:lnTo>
                        <a:pt x="1064" y="1256"/>
                      </a:lnTo>
                      <a:lnTo>
                        <a:pt x="1107" y="1193"/>
                      </a:lnTo>
                      <a:lnTo>
                        <a:pt x="874" y="1001"/>
                      </a:lnTo>
                      <a:lnTo>
                        <a:pt x="832" y="1035"/>
                      </a:lnTo>
                      <a:lnTo>
                        <a:pt x="787" y="1065"/>
                      </a:lnTo>
                      <a:lnTo>
                        <a:pt x="738" y="1091"/>
                      </a:lnTo>
                      <a:lnTo>
                        <a:pt x="688" y="1112"/>
                      </a:lnTo>
                      <a:lnTo>
                        <a:pt x="633" y="1128"/>
                      </a:lnTo>
                      <a:lnTo>
                        <a:pt x="578" y="1137"/>
                      </a:lnTo>
                      <a:lnTo>
                        <a:pt x="521" y="1140"/>
                      </a:lnTo>
                      <a:lnTo>
                        <a:pt x="460" y="1137"/>
                      </a:lnTo>
                      <a:lnTo>
                        <a:pt x="401" y="1125"/>
                      </a:lnTo>
                      <a:lnTo>
                        <a:pt x="346" y="1109"/>
                      </a:lnTo>
                      <a:lnTo>
                        <a:pt x="291" y="1087"/>
                      </a:lnTo>
                      <a:lnTo>
                        <a:pt x="242" y="1059"/>
                      </a:lnTo>
                      <a:lnTo>
                        <a:pt x="195" y="1025"/>
                      </a:lnTo>
                      <a:lnTo>
                        <a:pt x="152" y="986"/>
                      </a:lnTo>
                      <a:lnTo>
                        <a:pt x="114" y="945"/>
                      </a:lnTo>
                      <a:lnTo>
                        <a:pt x="81" y="898"/>
                      </a:lnTo>
                      <a:lnTo>
                        <a:pt x="53" y="848"/>
                      </a:lnTo>
                      <a:lnTo>
                        <a:pt x="30" y="795"/>
                      </a:lnTo>
                      <a:lnTo>
                        <a:pt x="14" y="738"/>
                      </a:lnTo>
                      <a:lnTo>
                        <a:pt x="3" y="679"/>
                      </a:lnTo>
                      <a:lnTo>
                        <a:pt x="0" y="620"/>
                      </a:lnTo>
                      <a:lnTo>
                        <a:pt x="3" y="559"/>
                      </a:lnTo>
                      <a:lnTo>
                        <a:pt x="14" y="500"/>
                      </a:lnTo>
                      <a:lnTo>
                        <a:pt x="30" y="445"/>
                      </a:lnTo>
                      <a:lnTo>
                        <a:pt x="53" y="390"/>
                      </a:lnTo>
                      <a:lnTo>
                        <a:pt x="81" y="341"/>
                      </a:lnTo>
                      <a:lnTo>
                        <a:pt x="114" y="294"/>
                      </a:lnTo>
                      <a:lnTo>
                        <a:pt x="152" y="252"/>
                      </a:lnTo>
                      <a:lnTo>
                        <a:pt x="195" y="213"/>
                      </a:lnTo>
                      <a:lnTo>
                        <a:pt x="242" y="180"/>
                      </a:lnTo>
                      <a:lnTo>
                        <a:pt x="291" y="152"/>
                      </a:lnTo>
                      <a:lnTo>
                        <a:pt x="346" y="130"/>
                      </a:lnTo>
                      <a:lnTo>
                        <a:pt x="401" y="113"/>
                      </a:lnTo>
                      <a:lnTo>
                        <a:pt x="460" y="103"/>
                      </a:lnTo>
                      <a:lnTo>
                        <a:pt x="521" y="99"/>
                      </a:lnTo>
                      <a:lnTo>
                        <a:pt x="580" y="103"/>
                      </a:lnTo>
                      <a:lnTo>
                        <a:pt x="639" y="113"/>
                      </a:lnTo>
                      <a:lnTo>
                        <a:pt x="696" y="130"/>
                      </a:lnTo>
                      <a:lnTo>
                        <a:pt x="749" y="152"/>
                      </a:lnTo>
                      <a:lnTo>
                        <a:pt x="799" y="180"/>
                      </a:lnTo>
                      <a:lnTo>
                        <a:pt x="846" y="213"/>
                      </a:lnTo>
                      <a:lnTo>
                        <a:pt x="889" y="252"/>
                      </a:lnTo>
                      <a:lnTo>
                        <a:pt x="926" y="294"/>
                      </a:lnTo>
                      <a:lnTo>
                        <a:pt x="960" y="341"/>
                      </a:lnTo>
                      <a:lnTo>
                        <a:pt x="988" y="390"/>
                      </a:lnTo>
                      <a:lnTo>
                        <a:pt x="1011" y="445"/>
                      </a:lnTo>
                      <a:lnTo>
                        <a:pt x="1026" y="500"/>
                      </a:lnTo>
                      <a:lnTo>
                        <a:pt x="1038" y="559"/>
                      </a:lnTo>
                      <a:lnTo>
                        <a:pt x="1041" y="620"/>
                      </a:lnTo>
                      <a:lnTo>
                        <a:pt x="1038" y="676"/>
                      </a:lnTo>
                      <a:lnTo>
                        <a:pt x="1029" y="732"/>
                      </a:lnTo>
                      <a:lnTo>
                        <a:pt x="1014" y="786"/>
                      </a:lnTo>
                      <a:lnTo>
                        <a:pt x="994" y="836"/>
                      </a:lnTo>
                      <a:lnTo>
                        <a:pt x="968" y="884"/>
                      </a:lnTo>
                      <a:lnTo>
                        <a:pt x="1205" y="1080"/>
                      </a:lnTo>
                      <a:lnTo>
                        <a:pt x="1260" y="1029"/>
                      </a:lnTo>
                      <a:lnTo>
                        <a:pt x="1318" y="984"/>
                      </a:lnTo>
                      <a:lnTo>
                        <a:pt x="1380" y="942"/>
                      </a:lnTo>
                      <a:lnTo>
                        <a:pt x="1445" y="906"/>
                      </a:lnTo>
                      <a:lnTo>
                        <a:pt x="1513" y="874"/>
                      </a:lnTo>
                      <a:lnTo>
                        <a:pt x="1584" y="848"/>
                      </a:lnTo>
                      <a:lnTo>
                        <a:pt x="1658" y="826"/>
                      </a:lnTo>
                      <a:lnTo>
                        <a:pt x="1733" y="811"/>
                      </a:lnTo>
                      <a:lnTo>
                        <a:pt x="1810" y="801"/>
                      </a:lnTo>
                      <a:lnTo>
                        <a:pt x="1889" y="799"/>
                      </a:lnTo>
                      <a:lnTo>
                        <a:pt x="1973" y="802"/>
                      </a:lnTo>
                      <a:lnTo>
                        <a:pt x="2054" y="813"/>
                      </a:lnTo>
                      <a:lnTo>
                        <a:pt x="2133" y="830"/>
                      </a:lnTo>
                      <a:lnTo>
                        <a:pt x="2209" y="852"/>
                      </a:lnTo>
                      <a:lnTo>
                        <a:pt x="2283" y="881"/>
                      </a:lnTo>
                      <a:lnTo>
                        <a:pt x="2353" y="916"/>
                      </a:lnTo>
                      <a:lnTo>
                        <a:pt x="2421" y="956"/>
                      </a:lnTo>
                      <a:lnTo>
                        <a:pt x="2484" y="1001"/>
                      </a:lnTo>
                      <a:lnTo>
                        <a:pt x="2544" y="1052"/>
                      </a:lnTo>
                      <a:lnTo>
                        <a:pt x="2776" y="819"/>
                      </a:lnTo>
                      <a:lnTo>
                        <a:pt x="2748" y="775"/>
                      </a:lnTo>
                      <a:lnTo>
                        <a:pt x="2726" y="729"/>
                      </a:lnTo>
                      <a:lnTo>
                        <a:pt x="2706" y="679"/>
                      </a:lnTo>
                      <a:lnTo>
                        <a:pt x="2693" y="629"/>
                      </a:lnTo>
                      <a:lnTo>
                        <a:pt x="2684" y="576"/>
                      </a:lnTo>
                      <a:lnTo>
                        <a:pt x="2682" y="520"/>
                      </a:lnTo>
                      <a:lnTo>
                        <a:pt x="2685" y="459"/>
                      </a:lnTo>
                      <a:lnTo>
                        <a:pt x="2695" y="401"/>
                      </a:lnTo>
                      <a:lnTo>
                        <a:pt x="2712" y="345"/>
                      </a:lnTo>
                      <a:lnTo>
                        <a:pt x="2735" y="291"/>
                      </a:lnTo>
                      <a:lnTo>
                        <a:pt x="2763" y="241"/>
                      </a:lnTo>
                      <a:lnTo>
                        <a:pt x="2796" y="195"/>
                      </a:lnTo>
                      <a:lnTo>
                        <a:pt x="2834" y="152"/>
                      </a:lnTo>
                      <a:lnTo>
                        <a:pt x="2877" y="114"/>
                      </a:lnTo>
                      <a:lnTo>
                        <a:pt x="2923" y="81"/>
                      </a:lnTo>
                      <a:lnTo>
                        <a:pt x="2973" y="53"/>
                      </a:lnTo>
                      <a:lnTo>
                        <a:pt x="3026" y="30"/>
                      </a:lnTo>
                      <a:lnTo>
                        <a:pt x="3082" y="13"/>
                      </a:lnTo>
                      <a:lnTo>
                        <a:pt x="3141" y="3"/>
                      </a:lnTo>
                      <a:lnTo>
                        <a:pt x="32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15"/>
                <p:cNvSpPr>
                  <a:spLocks/>
                </p:cNvSpPr>
                <p:nvPr/>
              </p:nvSpPr>
              <p:spPr bwMode="auto">
                <a:xfrm>
                  <a:off x="3834" y="738"/>
                  <a:ext cx="45" cy="76"/>
                </a:xfrm>
                <a:custGeom>
                  <a:avLst/>
                  <a:gdLst>
                    <a:gd name="T0" fmla="*/ 71 w 271"/>
                    <a:gd name="T1" fmla="*/ 0 h 456"/>
                    <a:gd name="T2" fmla="*/ 154 w 271"/>
                    <a:gd name="T3" fmla="*/ 0 h 456"/>
                    <a:gd name="T4" fmla="*/ 164 w 271"/>
                    <a:gd name="T5" fmla="*/ 4 h 456"/>
                    <a:gd name="T6" fmla="*/ 172 w 271"/>
                    <a:gd name="T7" fmla="*/ 10 h 456"/>
                    <a:gd name="T8" fmla="*/ 175 w 271"/>
                    <a:gd name="T9" fmla="*/ 22 h 456"/>
                    <a:gd name="T10" fmla="*/ 175 w 271"/>
                    <a:gd name="T11" fmla="*/ 100 h 456"/>
                    <a:gd name="T12" fmla="*/ 248 w 271"/>
                    <a:gd name="T13" fmla="*/ 100 h 456"/>
                    <a:gd name="T14" fmla="*/ 258 w 271"/>
                    <a:gd name="T15" fmla="*/ 102 h 456"/>
                    <a:gd name="T16" fmla="*/ 266 w 271"/>
                    <a:gd name="T17" fmla="*/ 110 h 456"/>
                    <a:gd name="T18" fmla="*/ 268 w 271"/>
                    <a:gd name="T19" fmla="*/ 120 h 456"/>
                    <a:gd name="T20" fmla="*/ 268 w 271"/>
                    <a:gd name="T21" fmla="*/ 164 h 456"/>
                    <a:gd name="T22" fmla="*/ 266 w 271"/>
                    <a:gd name="T23" fmla="*/ 175 h 456"/>
                    <a:gd name="T24" fmla="*/ 258 w 271"/>
                    <a:gd name="T25" fmla="*/ 182 h 456"/>
                    <a:gd name="T26" fmla="*/ 248 w 271"/>
                    <a:gd name="T27" fmla="*/ 185 h 456"/>
                    <a:gd name="T28" fmla="*/ 175 w 271"/>
                    <a:gd name="T29" fmla="*/ 185 h 456"/>
                    <a:gd name="T30" fmla="*/ 175 w 271"/>
                    <a:gd name="T31" fmla="*/ 320 h 456"/>
                    <a:gd name="T32" fmla="*/ 176 w 271"/>
                    <a:gd name="T33" fmla="*/ 334 h 456"/>
                    <a:gd name="T34" fmla="*/ 181 w 271"/>
                    <a:gd name="T35" fmla="*/ 346 h 456"/>
                    <a:gd name="T36" fmla="*/ 189 w 271"/>
                    <a:gd name="T37" fmla="*/ 351 h 456"/>
                    <a:gd name="T38" fmla="*/ 201 w 271"/>
                    <a:gd name="T39" fmla="*/ 354 h 456"/>
                    <a:gd name="T40" fmla="*/ 202 w 271"/>
                    <a:gd name="T41" fmla="*/ 354 h 456"/>
                    <a:gd name="T42" fmla="*/ 215 w 271"/>
                    <a:gd name="T43" fmla="*/ 351 h 456"/>
                    <a:gd name="T44" fmla="*/ 230 w 271"/>
                    <a:gd name="T45" fmla="*/ 348 h 456"/>
                    <a:gd name="T46" fmla="*/ 235 w 271"/>
                    <a:gd name="T47" fmla="*/ 347 h 456"/>
                    <a:gd name="T48" fmla="*/ 241 w 271"/>
                    <a:gd name="T49" fmla="*/ 347 h 456"/>
                    <a:gd name="T50" fmla="*/ 246 w 271"/>
                    <a:gd name="T51" fmla="*/ 349 h 456"/>
                    <a:gd name="T52" fmla="*/ 251 w 271"/>
                    <a:gd name="T53" fmla="*/ 352 h 456"/>
                    <a:gd name="T54" fmla="*/ 254 w 271"/>
                    <a:gd name="T55" fmla="*/ 357 h 456"/>
                    <a:gd name="T56" fmla="*/ 257 w 271"/>
                    <a:gd name="T57" fmla="*/ 361 h 456"/>
                    <a:gd name="T58" fmla="*/ 271 w 271"/>
                    <a:gd name="T59" fmla="*/ 412 h 456"/>
                    <a:gd name="T60" fmla="*/ 271 w 271"/>
                    <a:gd name="T61" fmla="*/ 422 h 456"/>
                    <a:gd name="T62" fmla="*/ 268 w 271"/>
                    <a:gd name="T63" fmla="*/ 431 h 456"/>
                    <a:gd name="T64" fmla="*/ 260 w 271"/>
                    <a:gd name="T65" fmla="*/ 437 h 456"/>
                    <a:gd name="T66" fmla="*/ 233 w 271"/>
                    <a:gd name="T67" fmla="*/ 447 h 456"/>
                    <a:gd name="T68" fmla="*/ 204 w 271"/>
                    <a:gd name="T69" fmla="*/ 454 h 456"/>
                    <a:gd name="T70" fmla="*/ 174 w 271"/>
                    <a:gd name="T71" fmla="*/ 456 h 456"/>
                    <a:gd name="T72" fmla="*/ 147 w 271"/>
                    <a:gd name="T73" fmla="*/ 454 h 456"/>
                    <a:gd name="T74" fmla="*/ 122 w 271"/>
                    <a:gd name="T75" fmla="*/ 447 h 456"/>
                    <a:gd name="T76" fmla="*/ 102 w 271"/>
                    <a:gd name="T77" fmla="*/ 437 h 456"/>
                    <a:gd name="T78" fmla="*/ 84 w 271"/>
                    <a:gd name="T79" fmla="*/ 424 h 456"/>
                    <a:gd name="T80" fmla="*/ 69 w 271"/>
                    <a:gd name="T81" fmla="*/ 407 h 456"/>
                    <a:gd name="T82" fmla="*/ 59 w 271"/>
                    <a:gd name="T83" fmla="*/ 386 h 456"/>
                    <a:gd name="T84" fmla="*/ 52 w 271"/>
                    <a:gd name="T85" fmla="*/ 364 h 456"/>
                    <a:gd name="T86" fmla="*/ 50 w 271"/>
                    <a:gd name="T87" fmla="*/ 338 h 456"/>
                    <a:gd name="T88" fmla="*/ 50 w 271"/>
                    <a:gd name="T89" fmla="*/ 185 h 456"/>
                    <a:gd name="T90" fmla="*/ 22 w 271"/>
                    <a:gd name="T91" fmla="*/ 185 h 456"/>
                    <a:gd name="T92" fmla="*/ 12 w 271"/>
                    <a:gd name="T93" fmla="*/ 182 h 456"/>
                    <a:gd name="T94" fmla="*/ 4 w 271"/>
                    <a:gd name="T95" fmla="*/ 174 h 456"/>
                    <a:gd name="T96" fmla="*/ 0 w 271"/>
                    <a:gd name="T97" fmla="*/ 164 h 456"/>
                    <a:gd name="T98" fmla="*/ 0 w 271"/>
                    <a:gd name="T99" fmla="*/ 121 h 456"/>
                    <a:gd name="T100" fmla="*/ 4 w 271"/>
                    <a:gd name="T101" fmla="*/ 110 h 456"/>
                    <a:gd name="T102" fmla="*/ 12 w 271"/>
                    <a:gd name="T103" fmla="*/ 103 h 456"/>
                    <a:gd name="T104" fmla="*/ 22 w 271"/>
                    <a:gd name="T105" fmla="*/ 100 h 456"/>
                    <a:gd name="T106" fmla="*/ 50 w 271"/>
                    <a:gd name="T107" fmla="*/ 100 h 456"/>
                    <a:gd name="T108" fmla="*/ 50 w 271"/>
                    <a:gd name="T109" fmla="*/ 22 h 456"/>
                    <a:gd name="T110" fmla="*/ 53 w 271"/>
                    <a:gd name="T111" fmla="*/ 10 h 456"/>
                    <a:gd name="T112" fmla="*/ 61 w 271"/>
                    <a:gd name="T113" fmla="*/ 4 h 456"/>
                    <a:gd name="T114" fmla="*/ 71 w 271"/>
                    <a:gd name="T115"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 h="456">
                      <a:moveTo>
                        <a:pt x="71" y="0"/>
                      </a:moveTo>
                      <a:lnTo>
                        <a:pt x="154" y="0"/>
                      </a:lnTo>
                      <a:lnTo>
                        <a:pt x="164" y="4"/>
                      </a:lnTo>
                      <a:lnTo>
                        <a:pt x="172" y="10"/>
                      </a:lnTo>
                      <a:lnTo>
                        <a:pt x="175" y="22"/>
                      </a:lnTo>
                      <a:lnTo>
                        <a:pt x="175" y="100"/>
                      </a:lnTo>
                      <a:lnTo>
                        <a:pt x="248" y="100"/>
                      </a:lnTo>
                      <a:lnTo>
                        <a:pt x="258" y="102"/>
                      </a:lnTo>
                      <a:lnTo>
                        <a:pt x="266" y="110"/>
                      </a:lnTo>
                      <a:lnTo>
                        <a:pt x="268" y="120"/>
                      </a:lnTo>
                      <a:lnTo>
                        <a:pt x="268" y="164"/>
                      </a:lnTo>
                      <a:lnTo>
                        <a:pt x="266" y="175"/>
                      </a:lnTo>
                      <a:lnTo>
                        <a:pt x="258" y="182"/>
                      </a:lnTo>
                      <a:lnTo>
                        <a:pt x="248" y="185"/>
                      </a:lnTo>
                      <a:lnTo>
                        <a:pt x="175" y="185"/>
                      </a:lnTo>
                      <a:lnTo>
                        <a:pt x="175" y="320"/>
                      </a:lnTo>
                      <a:lnTo>
                        <a:pt x="176" y="334"/>
                      </a:lnTo>
                      <a:lnTo>
                        <a:pt x="181" y="346"/>
                      </a:lnTo>
                      <a:lnTo>
                        <a:pt x="189" y="351"/>
                      </a:lnTo>
                      <a:lnTo>
                        <a:pt x="201" y="354"/>
                      </a:lnTo>
                      <a:lnTo>
                        <a:pt x="202" y="354"/>
                      </a:lnTo>
                      <a:lnTo>
                        <a:pt x="215" y="351"/>
                      </a:lnTo>
                      <a:lnTo>
                        <a:pt x="230" y="348"/>
                      </a:lnTo>
                      <a:lnTo>
                        <a:pt x="235" y="347"/>
                      </a:lnTo>
                      <a:lnTo>
                        <a:pt x="241" y="347"/>
                      </a:lnTo>
                      <a:lnTo>
                        <a:pt x="246" y="349"/>
                      </a:lnTo>
                      <a:lnTo>
                        <a:pt x="251" y="352"/>
                      </a:lnTo>
                      <a:lnTo>
                        <a:pt x="254" y="357"/>
                      </a:lnTo>
                      <a:lnTo>
                        <a:pt x="257" y="361"/>
                      </a:lnTo>
                      <a:lnTo>
                        <a:pt x="271" y="412"/>
                      </a:lnTo>
                      <a:lnTo>
                        <a:pt x="271" y="422"/>
                      </a:lnTo>
                      <a:lnTo>
                        <a:pt x="268" y="431"/>
                      </a:lnTo>
                      <a:lnTo>
                        <a:pt x="260" y="437"/>
                      </a:lnTo>
                      <a:lnTo>
                        <a:pt x="233" y="447"/>
                      </a:lnTo>
                      <a:lnTo>
                        <a:pt x="204" y="454"/>
                      </a:lnTo>
                      <a:lnTo>
                        <a:pt x="174" y="456"/>
                      </a:lnTo>
                      <a:lnTo>
                        <a:pt x="147" y="454"/>
                      </a:lnTo>
                      <a:lnTo>
                        <a:pt x="122" y="447"/>
                      </a:lnTo>
                      <a:lnTo>
                        <a:pt x="102" y="437"/>
                      </a:lnTo>
                      <a:lnTo>
                        <a:pt x="84" y="424"/>
                      </a:lnTo>
                      <a:lnTo>
                        <a:pt x="69" y="407"/>
                      </a:lnTo>
                      <a:lnTo>
                        <a:pt x="59" y="386"/>
                      </a:lnTo>
                      <a:lnTo>
                        <a:pt x="52" y="364"/>
                      </a:lnTo>
                      <a:lnTo>
                        <a:pt x="50" y="338"/>
                      </a:lnTo>
                      <a:lnTo>
                        <a:pt x="50" y="185"/>
                      </a:lnTo>
                      <a:lnTo>
                        <a:pt x="22" y="185"/>
                      </a:lnTo>
                      <a:lnTo>
                        <a:pt x="12" y="182"/>
                      </a:lnTo>
                      <a:lnTo>
                        <a:pt x="4" y="174"/>
                      </a:lnTo>
                      <a:lnTo>
                        <a:pt x="0" y="164"/>
                      </a:lnTo>
                      <a:lnTo>
                        <a:pt x="0" y="121"/>
                      </a:lnTo>
                      <a:lnTo>
                        <a:pt x="4" y="110"/>
                      </a:lnTo>
                      <a:lnTo>
                        <a:pt x="12" y="103"/>
                      </a:lnTo>
                      <a:lnTo>
                        <a:pt x="22" y="100"/>
                      </a:lnTo>
                      <a:lnTo>
                        <a:pt x="50" y="100"/>
                      </a:lnTo>
                      <a:lnTo>
                        <a:pt x="50" y="22"/>
                      </a:lnTo>
                      <a:lnTo>
                        <a:pt x="53" y="10"/>
                      </a:lnTo>
                      <a:lnTo>
                        <a:pt x="61" y="4"/>
                      </a:lnTo>
                      <a:lnTo>
                        <a:pt x="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16"/>
                <p:cNvSpPr>
                  <a:spLocks noEditPoints="1"/>
                </p:cNvSpPr>
                <p:nvPr/>
              </p:nvSpPr>
              <p:spPr bwMode="auto">
                <a:xfrm>
                  <a:off x="3381" y="754"/>
                  <a:ext cx="58" cy="76"/>
                </a:xfrm>
                <a:custGeom>
                  <a:avLst/>
                  <a:gdLst>
                    <a:gd name="T0" fmla="*/ 152 w 345"/>
                    <a:gd name="T1" fmla="*/ 91 h 458"/>
                    <a:gd name="T2" fmla="*/ 124 w 345"/>
                    <a:gd name="T3" fmla="*/ 108 h 458"/>
                    <a:gd name="T4" fmla="*/ 108 w 345"/>
                    <a:gd name="T5" fmla="*/ 140 h 458"/>
                    <a:gd name="T6" fmla="*/ 108 w 345"/>
                    <a:gd name="T7" fmla="*/ 182 h 458"/>
                    <a:gd name="T8" fmla="*/ 124 w 345"/>
                    <a:gd name="T9" fmla="*/ 215 h 458"/>
                    <a:gd name="T10" fmla="*/ 152 w 345"/>
                    <a:gd name="T11" fmla="*/ 233 h 458"/>
                    <a:gd name="T12" fmla="*/ 187 w 345"/>
                    <a:gd name="T13" fmla="*/ 233 h 458"/>
                    <a:gd name="T14" fmla="*/ 214 w 345"/>
                    <a:gd name="T15" fmla="*/ 215 h 458"/>
                    <a:gd name="T16" fmla="*/ 229 w 345"/>
                    <a:gd name="T17" fmla="*/ 182 h 458"/>
                    <a:gd name="T18" fmla="*/ 229 w 345"/>
                    <a:gd name="T19" fmla="*/ 140 h 458"/>
                    <a:gd name="T20" fmla="*/ 214 w 345"/>
                    <a:gd name="T21" fmla="*/ 108 h 458"/>
                    <a:gd name="T22" fmla="*/ 187 w 345"/>
                    <a:gd name="T23" fmla="*/ 91 h 458"/>
                    <a:gd name="T24" fmla="*/ 142 w 345"/>
                    <a:gd name="T25" fmla="*/ 0 h 458"/>
                    <a:gd name="T26" fmla="*/ 169 w 345"/>
                    <a:gd name="T27" fmla="*/ 3 h 458"/>
                    <a:gd name="T28" fmla="*/ 213 w 345"/>
                    <a:gd name="T29" fmla="*/ 20 h 458"/>
                    <a:gd name="T30" fmla="*/ 231 w 345"/>
                    <a:gd name="T31" fmla="*/ 25 h 458"/>
                    <a:gd name="T32" fmla="*/ 241 w 345"/>
                    <a:gd name="T33" fmla="*/ 7 h 458"/>
                    <a:gd name="T34" fmla="*/ 324 w 345"/>
                    <a:gd name="T35" fmla="*/ 4 h 458"/>
                    <a:gd name="T36" fmla="*/ 342 w 345"/>
                    <a:gd name="T37" fmla="*/ 15 h 458"/>
                    <a:gd name="T38" fmla="*/ 345 w 345"/>
                    <a:gd name="T39" fmla="*/ 303 h 458"/>
                    <a:gd name="T40" fmla="*/ 335 w 345"/>
                    <a:gd name="T41" fmla="*/ 361 h 458"/>
                    <a:gd name="T42" fmla="*/ 306 w 345"/>
                    <a:gd name="T43" fmla="*/ 406 h 458"/>
                    <a:gd name="T44" fmla="*/ 259 w 345"/>
                    <a:gd name="T45" fmla="*/ 438 h 458"/>
                    <a:gd name="T46" fmla="*/ 200 w 345"/>
                    <a:gd name="T47" fmla="*/ 455 h 458"/>
                    <a:gd name="T48" fmla="*/ 130 w 345"/>
                    <a:gd name="T49" fmla="*/ 455 h 458"/>
                    <a:gd name="T50" fmla="*/ 62 w 345"/>
                    <a:gd name="T51" fmla="*/ 438 h 458"/>
                    <a:gd name="T52" fmla="*/ 23 w 345"/>
                    <a:gd name="T53" fmla="*/ 415 h 458"/>
                    <a:gd name="T54" fmla="*/ 23 w 345"/>
                    <a:gd name="T55" fmla="*/ 394 h 458"/>
                    <a:gd name="T56" fmla="*/ 47 w 345"/>
                    <a:gd name="T57" fmla="*/ 348 h 458"/>
                    <a:gd name="T58" fmla="*/ 57 w 345"/>
                    <a:gd name="T59" fmla="*/ 342 h 458"/>
                    <a:gd name="T60" fmla="*/ 69 w 345"/>
                    <a:gd name="T61" fmla="*/ 342 h 458"/>
                    <a:gd name="T62" fmla="*/ 100 w 345"/>
                    <a:gd name="T63" fmla="*/ 357 h 458"/>
                    <a:gd name="T64" fmla="*/ 157 w 345"/>
                    <a:gd name="T65" fmla="*/ 367 h 458"/>
                    <a:gd name="T66" fmla="*/ 197 w 345"/>
                    <a:gd name="T67" fmla="*/ 359 h 458"/>
                    <a:gd name="T68" fmla="*/ 222 w 345"/>
                    <a:gd name="T69" fmla="*/ 339 h 458"/>
                    <a:gd name="T70" fmla="*/ 231 w 345"/>
                    <a:gd name="T71" fmla="*/ 306 h 458"/>
                    <a:gd name="T72" fmla="*/ 213 w 345"/>
                    <a:gd name="T73" fmla="*/ 301 h 458"/>
                    <a:gd name="T74" fmla="*/ 169 w 345"/>
                    <a:gd name="T75" fmla="*/ 318 h 458"/>
                    <a:gd name="T76" fmla="*/ 113 w 345"/>
                    <a:gd name="T77" fmla="*/ 318 h 458"/>
                    <a:gd name="T78" fmla="*/ 61 w 345"/>
                    <a:gd name="T79" fmla="*/ 294 h 458"/>
                    <a:gd name="T80" fmla="*/ 22 w 345"/>
                    <a:gd name="T81" fmla="*/ 252 h 458"/>
                    <a:gd name="T82" fmla="*/ 2 w 345"/>
                    <a:gd name="T83" fmla="*/ 193 h 458"/>
                    <a:gd name="T84" fmla="*/ 2 w 345"/>
                    <a:gd name="T85" fmla="*/ 126 h 458"/>
                    <a:gd name="T86" fmla="*/ 22 w 345"/>
                    <a:gd name="T87" fmla="*/ 68 h 458"/>
                    <a:gd name="T88" fmla="*/ 60 w 345"/>
                    <a:gd name="T89" fmla="*/ 26 h 458"/>
                    <a:gd name="T90" fmla="*/ 112 w 345"/>
                    <a:gd name="T91" fmla="*/ 4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5" h="458">
                      <a:moveTo>
                        <a:pt x="169" y="87"/>
                      </a:moveTo>
                      <a:lnTo>
                        <a:pt x="152" y="91"/>
                      </a:lnTo>
                      <a:lnTo>
                        <a:pt x="136" y="98"/>
                      </a:lnTo>
                      <a:lnTo>
                        <a:pt x="124" y="108"/>
                      </a:lnTo>
                      <a:lnTo>
                        <a:pt x="115" y="122"/>
                      </a:lnTo>
                      <a:lnTo>
                        <a:pt x="108" y="140"/>
                      </a:lnTo>
                      <a:lnTo>
                        <a:pt x="107" y="162"/>
                      </a:lnTo>
                      <a:lnTo>
                        <a:pt x="108" y="182"/>
                      </a:lnTo>
                      <a:lnTo>
                        <a:pt x="115" y="200"/>
                      </a:lnTo>
                      <a:lnTo>
                        <a:pt x="124" y="215"/>
                      </a:lnTo>
                      <a:lnTo>
                        <a:pt x="136" y="226"/>
                      </a:lnTo>
                      <a:lnTo>
                        <a:pt x="152" y="233"/>
                      </a:lnTo>
                      <a:lnTo>
                        <a:pt x="169" y="235"/>
                      </a:lnTo>
                      <a:lnTo>
                        <a:pt x="187" y="233"/>
                      </a:lnTo>
                      <a:lnTo>
                        <a:pt x="202" y="226"/>
                      </a:lnTo>
                      <a:lnTo>
                        <a:pt x="214" y="215"/>
                      </a:lnTo>
                      <a:lnTo>
                        <a:pt x="223" y="200"/>
                      </a:lnTo>
                      <a:lnTo>
                        <a:pt x="229" y="182"/>
                      </a:lnTo>
                      <a:lnTo>
                        <a:pt x="231" y="162"/>
                      </a:lnTo>
                      <a:lnTo>
                        <a:pt x="229" y="140"/>
                      </a:lnTo>
                      <a:lnTo>
                        <a:pt x="223" y="122"/>
                      </a:lnTo>
                      <a:lnTo>
                        <a:pt x="214" y="108"/>
                      </a:lnTo>
                      <a:lnTo>
                        <a:pt x="202" y="98"/>
                      </a:lnTo>
                      <a:lnTo>
                        <a:pt x="187" y="91"/>
                      </a:lnTo>
                      <a:lnTo>
                        <a:pt x="169" y="87"/>
                      </a:lnTo>
                      <a:close/>
                      <a:moveTo>
                        <a:pt x="142" y="0"/>
                      </a:moveTo>
                      <a:lnTo>
                        <a:pt x="143" y="0"/>
                      </a:lnTo>
                      <a:lnTo>
                        <a:pt x="169" y="3"/>
                      </a:lnTo>
                      <a:lnTo>
                        <a:pt x="193" y="9"/>
                      </a:lnTo>
                      <a:lnTo>
                        <a:pt x="213" y="20"/>
                      </a:lnTo>
                      <a:lnTo>
                        <a:pt x="231" y="35"/>
                      </a:lnTo>
                      <a:lnTo>
                        <a:pt x="231" y="25"/>
                      </a:lnTo>
                      <a:lnTo>
                        <a:pt x="235" y="15"/>
                      </a:lnTo>
                      <a:lnTo>
                        <a:pt x="241" y="7"/>
                      </a:lnTo>
                      <a:lnTo>
                        <a:pt x="253" y="4"/>
                      </a:lnTo>
                      <a:lnTo>
                        <a:pt x="324" y="4"/>
                      </a:lnTo>
                      <a:lnTo>
                        <a:pt x="335" y="7"/>
                      </a:lnTo>
                      <a:lnTo>
                        <a:pt x="342" y="15"/>
                      </a:lnTo>
                      <a:lnTo>
                        <a:pt x="345" y="25"/>
                      </a:lnTo>
                      <a:lnTo>
                        <a:pt x="345" y="303"/>
                      </a:lnTo>
                      <a:lnTo>
                        <a:pt x="342" y="332"/>
                      </a:lnTo>
                      <a:lnTo>
                        <a:pt x="335" y="361"/>
                      </a:lnTo>
                      <a:lnTo>
                        <a:pt x="323" y="384"/>
                      </a:lnTo>
                      <a:lnTo>
                        <a:pt x="306" y="406"/>
                      </a:lnTo>
                      <a:lnTo>
                        <a:pt x="284" y="424"/>
                      </a:lnTo>
                      <a:lnTo>
                        <a:pt x="259" y="438"/>
                      </a:lnTo>
                      <a:lnTo>
                        <a:pt x="231" y="450"/>
                      </a:lnTo>
                      <a:lnTo>
                        <a:pt x="200" y="455"/>
                      </a:lnTo>
                      <a:lnTo>
                        <a:pt x="165" y="458"/>
                      </a:lnTo>
                      <a:lnTo>
                        <a:pt x="130" y="455"/>
                      </a:lnTo>
                      <a:lnTo>
                        <a:pt x="95" y="449"/>
                      </a:lnTo>
                      <a:lnTo>
                        <a:pt x="62" y="438"/>
                      </a:lnTo>
                      <a:lnTo>
                        <a:pt x="31" y="423"/>
                      </a:lnTo>
                      <a:lnTo>
                        <a:pt x="23" y="415"/>
                      </a:lnTo>
                      <a:lnTo>
                        <a:pt x="20" y="406"/>
                      </a:lnTo>
                      <a:lnTo>
                        <a:pt x="23" y="394"/>
                      </a:lnTo>
                      <a:lnTo>
                        <a:pt x="45" y="353"/>
                      </a:lnTo>
                      <a:lnTo>
                        <a:pt x="47" y="348"/>
                      </a:lnTo>
                      <a:lnTo>
                        <a:pt x="52" y="345"/>
                      </a:lnTo>
                      <a:lnTo>
                        <a:pt x="57" y="342"/>
                      </a:lnTo>
                      <a:lnTo>
                        <a:pt x="63" y="341"/>
                      </a:lnTo>
                      <a:lnTo>
                        <a:pt x="69" y="342"/>
                      </a:lnTo>
                      <a:lnTo>
                        <a:pt x="73" y="345"/>
                      </a:lnTo>
                      <a:lnTo>
                        <a:pt x="100" y="357"/>
                      </a:lnTo>
                      <a:lnTo>
                        <a:pt x="128" y="365"/>
                      </a:lnTo>
                      <a:lnTo>
                        <a:pt x="157" y="367"/>
                      </a:lnTo>
                      <a:lnTo>
                        <a:pt x="178" y="365"/>
                      </a:lnTo>
                      <a:lnTo>
                        <a:pt x="197" y="359"/>
                      </a:lnTo>
                      <a:lnTo>
                        <a:pt x="212" y="351"/>
                      </a:lnTo>
                      <a:lnTo>
                        <a:pt x="222" y="339"/>
                      </a:lnTo>
                      <a:lnTo>
                        <a:pt x="229" y="324"/>
                      </a:lnTo>
                      <a:lnTo>
                        <a:pt x="231" y="306"/>
                      </a:lnTo>
                      <a:lnTo>
                        <a:pt x="231" y="286"/>
                      </a:lnTo>
                      <a:lnTo>
                        <a:pt x="213" y="301"/>
                      </a:lnTo>
                      <a:lnTo>
                        <a:pt x="193" y="312"/>
                      </a:lnTo>
                      <a:lnTo>
                        <a:pt x="169" y="318"/>
                      </a:lnTo>
                      <a:lnTo>
                        <a:pt x="144" y="320"/>
                      </a:lnTo>
                      <a:lnTo>
                        <a:pt x="113" y="318"/>
                      </a:lnTo>
                      <a:lnTo>
                        <a:pt x="86" y="309"/>
                      </a:lnTo>
                      <a:lnTo>
                        <a:pt x="61" y="294"/>
                      </a:lnTo>
                      <a:lnTo>
                        <a:pt x="39" y="275"/>
                      </a:lnTo>
                      <a:lnTo>
                        <a:pt x="22" y="252"/>
                      </a:lnTo>
                      <a:lnTo>
                        <a:pt x="10" y="224"/>
                      </a:lnTo>
                      <a:lnTo>
                        <a:pt x="2" y="193"/>
                      </a:lnTo>
                      <a:lnTo>
                        <a:pt x="0" y="158"/>
                      </a:lnTo>
                      <a:lnTo>
                        <a:pt x="2" y="126"/>
                      </a:lnTo>
                      <a:lnTo>
                        <a:pt x="10" y="95"/>
                      </a:lnTo>
                      <a:lnTo>
                        <a:pt x="22" y="68"/>
                      </a:lnTo>
                      <a:lnTo>
                        <a:pt x="39" y="44"/>
                      </a:lnTo>
                      <a:lnTo>
                        <a:pt x="60" y="26"/>
                      </a:lnTo>
                      <a:lnTo>
                        <a:pt x="84" y="12"/>
                      </a:lnTo>
                      <a:lnTo>
                        <a:pt x="112" y="4"/>
                      </a:lnTo>
                      <a:lnTo>
                        <a:pt x="1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Subtitle 2"/>
            <p:cNvSpPr txBox="1">
              <a:spLocks/>
            </p:cNvSpPr>
            <p:nvPr/>
          </p:nvSpPr>
          <p:spPr>
            <a:xfrm>
              <a:off x="6236128" y="3598881"/>
              <a:ext cx="2600689" cy="1491734"/>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rPr>
                <a:t>Mid level Management</a:t>
              </a:r>
              <a:endParaRPr kumimoji="0" lang="en-US" sz="1800" b="0" i="0" u="none" strike="noStrike" kern="1200" cap="none" spc="0" normalizeH="0" noProof="0" dirty="0">
                <a:ln>
                  <a:noFill/>
                </a:ln>
                <a:solidFill>
                  <a:prstClr val="white"/>
                </a:solidFill>
                <a:effectLst/>
                <a:uLnTx/>
                <a:uFillTx/>
                <a:latin typeface="Trebuchet MS" panose="020B0603020202020204" pitchFamily="34" charset="0"/>
              </a:endParaRP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1800" dirty="0">
                  <a:solidFill>
                    <a:prstClr val="white"/>
                  </a:solidFill>
                  <a:latin typeface="Trebuchet MS" panose="020B0603020202020204" pitchFamily="34" charset="0"/>
                </a:rPr>
                <a:t>Merchandising Manager – </a:t>
              </a:r>
              <a:r>
                <a:rPr lang="en-US" sz="1800" dirty="0" smtClean="0">
                  <a:solidFill>
                    <a:prstClr val="white"/>
                  </a:solidFill>
                  <a:latin typeface="Trebuchet MS" panose="020B0603020202020204" pitchFamily="34" charset="0"/>
                </a:rPr>
                <a:t>1</a:t>
              </a:r>
              <a:endParaRPr lang="en-US" sz="1800" dirty="0">
                <a:solidFill>
                  <a:prstClr val="white"/>
                </a:solidFill>
                <a:latin typeface="Trebuchet MS" panose="020B0603020202020204" pitchFamily="34" charset="0"/>
              </a:endParaRP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noProof="0" dirty="0">
                  <a:ln>
                    <a:noFill/>
                  </a:ln>
                  <a:solidFill>
                    <a:prstClr val="white"/>
                  </a:solidFill>
                  <a:effectLst/>
                  <a:uLnTx/>
                  <a:uFillTx/>
                  <a:latin typeface="Trebuchet MS" panose="020B0603020202020204" pitchFamily="34" charset="0"/>
                </a:rPr>
                <a:t>Commercial Manager - 1</a:t>
              </a:r>
              <a:endPar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ndParaRPr>
            </a:p>
          </p:txBody>
        </p:sp>
        <p:grpSp>
          <p:nvGrpSpPr>
            <p:cNvPr id="40" name="Group 39"/>
            <p:cNvGrpSpPr/>
            <p:nvPr/>
          </p:nvGrpSpPr>
          <p:grpSpPr>
            <a:xfrm>
              <a:off x="9836426" y="2617078"/>
              <a:ext cx="914400" cy="914400"/>
              <a:chOff x="9836426" y="2617078"/>
              <a:chExt cx="914400" cy="914400"/>
            </a:xfrm>
          </p:grpSpPr>
          <p:sp>
            <p:nvSpPr>
              <p:cNvPr id="8" name="Oval 7"/>
              <p:cNvSpPr/>
              <p:nvPr/>
            </p:nvSpPr>
            <p:spPr>
              <a:xfrm>
                <a:off x="9836426" y="2617078"/>
                <a:ext cx="914400" cy="914400"/>
              </a:xfrm>
              <a:prstGeom prst="ellipse">
                <a:avLst/>
              </a:prstGeom>
              <a:solidFill>
                <a:schemeClr val="accent6"/>
              </a:solidFill>
              <a:ln>
                <a:noFill/>
              </a:ln>
              <a:effectLst>
                <a:outerShdw blurRad="152400" dist="38100" dir="5400000" sx="102000" sy="102000" algn="t"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3" name="Group 19"/>
              <p:cNvGrpSpPr>
                <a:grpSpLocks noChangeAspect="1"/>
              </p:cNvGrpSpPr>
              <p:nvPr/>
            </p:nvGrpSpPr>
            <p:grpSpPr bwMode="auto">
              <a:xfrm>
                <a:off x="10085247" y="2789535"/>
                <a:ext cx="459471" cy="473709"/>
                <a:chOff x="3699" y="657"/>
                <a:chExt cx="355" cy="366"/>
              </a:xfrm>
              <a:solidFill>
                <a:schemeClr val="bg1"/>
              </a:solidFill>
            </p:grpSpPr>
            <p:sp>
              <p:nvSpPr>
                <p:cNvPr id="36" name="Freeform 21"/>
                <p:cNvSpPr>
                  <a:spLocks/>
                </p:cNvSpPr>
                <p:nvPr/>
              </p:nvSpPr>
              <p:spPr bwMode="auto">
                <a:xfrm>
                  <a:off x="3699" y="803"/>
                  <a:ext cx="355" cy="74"/>
                </a:xfrm>
                <a:custGeom>
                  <a:avLst/>
                  <a:gdLst>
                    <a:gd name="T0" fmla="*/ 455 w 3191"/>
                    <a:gd name="T1" fmla="*/ 0 h 669"/>
                    <a:gd name="T2" fmla="*/ 1053 w 3191"/>
                    <a:gd name="T3" fmla="*/ 0 h 669"/>
                    <a:gd name="T4" fmla="*/ 1053 w 3191"/>
                    <a:gd name="T5" fmla="*/ 80 h 669"/>
                    <a:gd name="T6" fmla="*/ 2137 w 3191"/>
                    <a:gd name="T7" fmla="*/ 80 h 669"/>
                    <a:gd name="T8" fmla="*/ 2137 w 3191"/>
                    <a:gd name="T9" fmla="*/ 0 h 669"/>
                    <a:gd name="T10" fmla="*/ 2734 w 3191"/>
                    <a:gd name="T11" fmla="*/ 0 h 669"/>
                    <a:gd name="T12" fmla="*/ 2734 w 3191"/>
                    <a:gd name="T13" fmla="*/ 80 h 669"/>
                    <a:gd name="T14" fmla="*/ 3191 w 3191"/>
                    <a:gd name="T15" fmla="*/ 80 h 669"/>
                    <a:gd name="T16" fmla="*/ 3191 w 3191"/>
                    <a:gd name="T17" fmla="*/ 180 h 669"/>
                    <a:gd name="T18" fmla="*/ 2734 w 3191"/>
                    <a:gd name="T19" fmla="*/ 180 h 669"/>
                    <a:gd name="T20" fmla="*/ 2734 w 3191"/>
                    <a:gd name="T21" fmla="*/ 255 h 669"/>
                    <a:gd name="T22" fmla="*/ 2483 w 3191"/>
                    <a:gd name="T23" fmla="*/ 255 h 669"/>
                    <a:gd name="T24" fmla="*/ 2483 w 3191"/>
                    <a:gd name="T25" fmla="*/ 669 h 669"/>
                    <a:gd name="T26" fmla="*/ 2396 w 3191"/>
                    <a:gd name="T27" fmla="*/ 669 h 669"/>
                    <a:gd name="T28" fmla="*/ 2396 w 3191"/>
                    <a:gd name="T29" fmla="*/ 255 h 669"/>
                    <a:gd name="T30" fmla="*/ 2137 w 3191"/>
                    <a:gd name="T31" fmla="*/ 255 h 669"/>
                    <a:gd name="T32" fmla="*/ 2137 w 3191"/>
                    <a:gd name="T33" fmla="*/ 180 h 669"/>
                    <a:gd name="T34" fmla="*/ 1053 w 3191"/>
                    <a:gd name="T35" fmla="*/ 180 h 669"/>
                    <a:gd name="T36" fmla="*/ 1053 w 3191"/>
                    <a:gd name="T37" fmla="*/ 255 h 669"/>
                    <a:gd name="T38" fmla="*/ 794 w 3191"/>
                    <a:gd name="T39" fmla="*/ 255 h 669"/>
                    <a:gd name="T40" fmla="*/ 794 w 3191"/>
                    <a:gd name="T41" fmla="*/ 669 h 669"/>
                    <a:gd name="T42" fmla="*/ 708 w 3191"/>
                    <a:gd name="T43" fmla="*/ 669 h 669"/>
                    <a:gd name="T44" fmla="*/ 708 w 3191"/>
                    <a:gd name="T45" fmla="*/ 255 h 669"/>
                    <a:gd name="T46" fmla="*/ 455 w 3191"/>
                    <a:gd name="T47" fmla="*/ 255 h 669"/>
                    <a:gd name="T48" fmla="*/ 455 w 3191"/>
                    <a:gd name="T49" fmla="*/ 180 h 669"/>
                    <a:gd name="T50" fmla="*/ 0 w 3191"/>
                    <a:gd name="T51" fmla="*/ 180 h 669"/>
                    <a:gd name="T52" fmla="*/ 0 w 3191"/>
                    <a:gd name="T53" fmla="*/ 80 h 669"/>
                    <a:gd name="T54" fmla="*/ 455 w 3191"/>
                    <a:gd name="T55" fmla="*/ 80 h 669"/>
                    <a:gd name="T56" fmla="*/ 455 w 3191"/>
                    <a:gd name="T57"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91" h="669">
                      <a:moveTo>
                        <a:pt x="455" y="0"/>
                      </a:moveTo>
                      <a:lnTo>
                        <a:pt x="1053" y="0"/>
                      </a:lnTo>
                      <a:lnTo>
                        <a:pt x="1053" y="80"/>
                      </a:lnTo>
                      <a:lnTo>
                        <a:pt x="2137" y="80"/>
                      </a:lnTo>
                      <a:lnTo>
                        <a:pt x="2137" y="0"/>
                      </a:lnTo>
                      <a:lnTo>
                        <a:pt x="2734" y="0"/>
                      </a:lnTo>
                      <a:lnTo>
                        <a:pt x="2734" y="80"/>
                      </a:lnTo>
                      <a:lnTo>
                        <a:pt x="3191" y="80"/>
                      </a:lnTo>
                      <a:lnTo>
                        <a:pt x="3191" y="180"/>
                      </a:lnTo>
                      <a:lnTo>
                        <a:pt x="2734" y="180"/>
                      </a:lnTo>
                      <a:lnTo>
                        <a:pt x="2734" y="255"/>
                      </a:lnTo>
                      <a:lnTo>
                        <a:pt x="2483" y="255"/>
                      </a:lnTo>
                      <a:lnTo>
                        <a:pt x="2483" y="669"/>
                      </a:lnTo>
                      <a:lnTo>
                        <a:pt x="2396" y="669"/>
                      </a:lnTo>
                      <a:lnTo>
                        <a:pt x="2396" y="255"/>
                      </a:lnTo>
                      <a:lnTo>
                        <a:pt x="2137" y="255"/>
                      </a:lnTo>
                      <a:lnTo>
                        <a:pt x="2137" y="180"/>
                      </a:lnTo>
                      <a:lnTo>
                        <a:pt x="1053" y="180"/>
                      </a:lnTo>
                      <a:lnTo>
                        <a:pt x="1053" y="255"/>
                      </a:lnTo>
                      <a:lnTo>
                        <a:pt x="794" y="255"/>
                      </a:lnTo>
                      <a:lnTo>
                        <a:pt x="794" y="669"/>
                      </a:lnTo>
                      <a:lnTo>
                        <a:pt x="708" y="669"/>
                      </a:lnTo>
                      <a:lnTo>
                        <a:pt x="708" y="255"/>
                      </a:lnTo>
                      <a:lnTo>
                        <a:pt x="455" y="255"/>
                      </a:lnTo>
                      <a:lnTo>
                        <a:pt x="455" y="180"/>
                      </a:lnTo>
                      <a:lnTo>
                        <a:pt x="0" y="180"/>
                      </a:lnTo>
                      <a:lnTo>
                        <a:pt x="0" y="80"/>
                      </a:lnTo>
                      <a:lnTo>
                        <a:pt x="455" y="80"/>
                      </a:lnTo>
                      <a:lnTo>
                        <a:pt x="4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2"/>
                <p:cNvSpPr>
                  <a:spLocks noEditPoints="1"/>
                </p:cNvSpPr>
                <p:nvPr/>
              </p:nvSpPr>
              <p:spPr bwMode="auto">
                <a:xfrm>
                  <a:off x="3799" y="657"/>
                  <a:ext cx="155" cy="131"/>
                </a:xfrm>
                <a:custGeom>
                  <a:avLst/>
                  <a:gdLst>
                    <a:gd name="T0" fmla="*/ 142 w 1392"/>
                    <a:gd name="T1" fmla="*/ 142 h 1183"/>
                    <a:gd name="T2" fmla="*/ 142 w 1392"/>
                    <a:gd name="T3" fmla="*/ 781 h 1183"/>
                    <a:gd name="T4" fmla="*/ 1250 w 1392"/>
                    <a:gd name="T5" fmla="*/ 781 h 1183"/>
                    <a:gd name="T6" fmla="*/ 1250 w 1392"/>
                    <a:gd name="T7" fmla="*/ 142 h 1183"/>
                    <a:gd name="T8" fmla="*/ 142 w 1392"/>
                    <a:gd name="T9" fmla="*/ 142 h 1183"/>
                    <a:gd name="T10" fmla="*/ 1040 w 1392"/>
                    <a:gd name="T11" fmla="*/ 0 h 1183"/>
                    <a:gd name="T12" fmla="*/ 1392 w 1392"/>
                    <a:gd name="T13" fmla="*/ 0 h 1183"/>
                    <a:gd name="T14" fmla="*/ 1392 w 1392"/>
                    <a:gd name="T15" fmla="*/ 923 h 1183"/>
                    <a:gd name="T16" fmla="*/ 887 w 1392"/>
                    <a:gd name="T17" fmla="*/ 923 h 1183"/>
                    <a:gd name="T18" fmla="*/ 887 w 1392"/>
                    <a:gd name="T19" fmla="*/ 1116 h 1183"/>
                    <a:gd name="T20" fmla="*/ 1096 w 1392"/>
                    <a:gd name="T21" fmla="*/ 1116 h 1183"/>
                    <a:gd name="T22" fmla="*/ 1096 w 1392"/>
                    <a:gd name="T23" fmla="*/ 1183 h 1183"/>
                    <a:gd name="T24" fmla="*/ 295 w 1392"/>
                    <a:gd name="T25" fmla="*/ 1183 h 1183"/>
                    <a:gd name="T26" fmla="*/ 295 w 1392"/>
                    <a:gd name="T27" fmla="*/ 1116 h 1183"/>
                    <a:gd name="T28" fmla="*/ 499 w 1392"/>
                    <a:gd name="T29" fmla="*/ 1116 h 1183"/>
                    <a:gd name="T30" fmla="*/ 499 w 1392"/>
                    <a:gd name="T31" fmla="*/ 923 h 1183"/>
                    <a:gd name="T32" fmla="*/ 0 w 1392"/>
                    <a:gd name="T33" fmla="*/ 923 h 1183"/>
                    <a:gd name="T34" fmla="*/ 0 w 1392"/>
                    <a:gd name="T35" fmla="*/ 0 h 1183"/>
                    <a:gd name="T36" fmla="*/ 1040 w 1392"/>
                    <a:gd name="T37" fmla="*/ 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92" h="1183">
                      <a:moveTo>
                        <a:pt x="142" y="142"/>
                      </a:moveTo>
                      <a:lnTo>
                        <a:pt x="142" y="781"/>
                      </a:lnTo>
                      <a:lnTo>
                        <a:pt x="1250" y="781"/>
                      </a:lnTo>
                      <a:lnTo>
                        <a:pt x="1250" y="142"/>
                      </a:lnTo>
                      <a:lnTo>
                        <a:pt x="142" y="142"/>
                      </a:lnTo>
                      <a:close/>
                      <a:moveTo>
                        <a:pt x="1040" y="0"/>
                      </a:moveTo>
                      <a:lnTo>
                        <a:pt x="1392" y="0"/>
                      </a:lnTo>
                      <a:lnTo>
                        <a:pt x="1392" y="923"/>
                      </a:lnTo>
                      <a:lnTo>
                        <a:pt x="887" y="923"/>
                      </a:lnTo>
                      <a:lnTo>
                        <a:pt x="887" y="1116"/>
                      </a:lnTo>
                      <a:lnTo>
                        <a:pt x="1096" y="1116"/>
                      </a:lnTo>
                      <a:lnTo>
                        <a:pt x="1096" y="1183"/>
                      </a:lnTo>
                      <a:lnTo>
                        <a:pt x="295" y="1183"/>
                      </a:lnTo>
                      <a:lnTo>
                        <a:pt x="295" y="1116"/>
                      </a:lnTo>
                      <a:lnTo>
                        <a:pt x="499" y="1116"/>
                      </a:lnTo>
                      <a:lnTo>
                        <a:pt x="499" y="923"/>
                      </a:lnTo>
                      <a:lnTo>
                        <a:pt x="0" y="923"/>
                      </a:lnTo>
                      <a:lnTo>
                        <a:pt x="0" y="0"/>
                      </a:lnTo>
                      <a:lnTo>
                        <a:pt x="10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23"/>
                <p:cNvSpPr>
                  <a:spLocks noEditPoints="1"/>
                </p:cNvSpPr>
                <p:nvPr/>
              </p:nvSpPr>
              <p:spPr bwMode="auto">
                <a:xfrm>
                  <a:off x="3892" y="892"/>
                  <a:ext cx="155" cy="131"/>
                </a:xfrm>
                <a:custGeom>
                  <a:avLst/>
                  <a:gdLst>
                    <a:gd name="T0" fmla="*/ 143 w 1393"/>
                    <a:gd name="T1" fmla="*/ 144 h 1185"/>
                    <a:gd name="T2" fmla="*/ 143 w 1393"/>
                    <a:gd name="T3" fmla="*/ 782 h 1185"/>
                    <a:gd name="T4" fmla="*/ 1251 w 1393"/>
                    <a:gd name="T5" fmla="*/ 782 h 1185"/>
                    <a:gd name="T6" fmla="*/ 1251 w 1393"/>
                    <a:gd name="T7" fmla="*/ 144 h 1185"/>
                    <a:gd name="T8" fmla="*/ 143 w 1393"/>
                    <a:gd name="T9" fmla="*/ 144 h 1185"/>
                    <a:gd name="T10" fmla="*/ 0 w 1393"/>
                    <a:gd name="T11" fmla="*/ 0 h 1185"/>
                    <a:gd name="T12" fmla="*/ 1393 w 1393"/>
                    <a:gd name="T13" fmla="*/ 0 h 1185"/>
                    <a:gd name="T14" fmla="*/ 1393 w 1393"/>
                    <a:gd name="T15" fmla="*/ 925 h 1185"/>
                    <a:gd name="T16" fmla="*/ 888 w 1393"/>
                    <a:gd name="T17" fmla="*/ 925 h 1185"/>
                    <a:gd name="T18" fmla="*/ 888 w 1393"/>
                    <a:gd name="T19" fmla="*/ 1117 h 1185"/>
                    <a:gd name="T20" fmla="*/ 1098 w 1393"/>
                    <a:gd name="T21" fmla="*/ 1117 h 1185"/>
                    <a:gd name="T22" fmla="*/ 1098 w 1393"/>
                    <a:gd name="T23" fmla="*/ 1185 h 1185"/>
                    <a:gd name="T24" fmla="*/ 297 w 1393"/>
                    <a:gd name="T25" fmla="*/ 1185 h 1185"/>
                    <a:gd name="T26" fmla="*/ 297 w 1393"/>
                    <a:gd name="T27" fmla="*/ 1117 h 1185"/>
                    <a:gd name="T28" fmla="*/ 500 w 1393"/>
                    <a:gd name="T29" fmla="*/ 1117 h 1185"/>
                    <a:gd name="T30" fmla="*/ 500 w 1393"/>
                    <a:gd name="T31" fmla="*/ 925 h 1185"/>
                    <a:gd name="T32" fmla="*/ 0 w 1393"/>
                    <a:gd name="T33" fmla="*/ 925 h 1185"/>
                    <a:gd name="T34" fmla="*/ 0 w 1393"/>
                    <a:gd name="T35" fmla="*/ 0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3" h="1185">
                      <a:moveTo>
                        <a:pt x="143" y="144"/>
                      </a:moveTo>
                      <a:lnTo>
                        <a:pt x="143" y="782"/>
                      </a:lnTo>
                      <a:lnTo>
                        <a:pt x="1251" y="782"/>
                      </a:lnTo>
                      <a:lnTo>
                        <a:pt x="1251" y="144"/>
                      </a:lnTo>
                      <a:lnTo>
                        <a:pt x="143" y="144"/>
                      </a:lnTo>
                      <a:close/>
                      <a:moveTo>
                        <a:pt x="0" y="0"/>
                      </a:moveTo>
                      <a:lnTo>
                        <a:pt x="1393" y="0"/>
                      </a:lnTo>
                      <a:lnTo>
                        <a:pt x="1393" y="925"/>
                      </a:lnTo>
                      <a:lnTo>
                        <a:pt x="888" y="925"/>
                      </a:lnTo>
                      <a:lnTo>
                        <a:pt x="888" y="1117"/>
                      </a:lnTo>
                      <a:lnTo>
                        <a:pt x="1098" y="1117"/>
                      </a:lnTo>
                      <a:lnTo>
                        <a:pt x="1098" y="1185"/>
                      </a:lnTo>
                      <a:lnTo>
                        <a:pt x="297" y="1185"/>
                      </a:lnTo>
                      <a:lnTo>
                        <a:pt x="297" y="1117"/>
                      </a:lnTo>
                      <a:lnTo>
                        <a:pt x="500" y="1117"/>
                      </a:lnTo>
                      <a:lnTo>
                        <a:pt x="500" y="925"/>
                      </a:lnTo>
                      <a:lnTo>
                        <a:pt x="0" y="92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24"/>
                <p:cNvSpPr>
                  <a:spLocks noEditPoints="1"/>
                </p:cNvSpPr>
                <p:nvPr/>
              </p:nvSpPr>
              <p:spPr bwMode="auto">
                <a:xfrm>
                  <a:off x="3706" y="892"/>
                  <a:ext cx="154" cy="131"/>
                </a:xfrm>
                <a:custGeom>
                  <a:avLst/>
                  <a:gdLst>
                    <a:gd name="T0" fmla="*/ 142 w 1392"/>
                    <a:gd name="T1" fmla="*/ 144 h 1185"/>
                    <a:gd name="T2" fmla="*/ 142 w 1392"/>
                    <a:gd name="T3" fmla="*/ 782 h 1185"/>
                    <a:gd name="T4" fmla="*/ 1251 w 1392"/>
                    <a:gd name="T5" fmla="*/ 782 h 1185"/>
                    <a:gd name="T6" fmla="*/ 1251 w 1392"/>
                    <a:gd name="T7" fmla="*/ 144 h 1185"/>
                    <a:gd name="T8" fmla="*/ 142 w 1392"/>
                    <a:gd name="T9" fmla="*/ 144 h 1185"/>
                    <a:gd name="T10" fmla="*/ 0 w 1392"/>
                    <a:gd name="T11" fmla="*/ 0 h 1185"/>
                    <a:gd name="T12" fmla="*/ 1392 w 1392"/>
                    <a:gd name="T13" fmla="*/ 0 h 1185"/>
                    <a:gd name="T14" fmla="*/ 1392 w 1392"/>
                    <a:gd name="T15" fmla="*/ 925 h 1185"/>
                    <a:gd name="T16" fmla="*/ 893 w 1392"/>
                    <a:gd name="T17" fmla="*/ 925 h 1185"/>
                    <a:gd name="T18" fmla="*/ 893 w 1392"/>
                    <a:gd name="T19" fmla="*/ 1117 h 1185"/>
                    <a:gd name="T20" fmla="*/ 1096 w 1392"/>
                    <a:gd name="T21" fmla="*/ 1117 h 1185"/>
                    <a:gd name="T22" fmla="*/ 1096 w 1392"/>
                    <a:gd name="T23" fmla="*/ 1185 h 1185"/>
                    <a:gd name="T24" fmla="*/ 296 w 1392"/>
                    <a:gd name="T25" fmla="*/ 1185 h 1185"/>
                    <a:gd name="T26" fmla="*/ 296 w 1392"/>
                    <a:gd name="T27" fmla="*/ 1117 h 1185"/>
                    <a:gd name="T28" fmla="*/ 506 w 1392"/>
                    <a:gd name="T29" fmla="*/ 1117 h 1185"/>
                    <a:gd name="T30" fmla="*/ 506 w 1392"/>
                    <a:gd name="T31" fmla="*/ 925 h 1185"/>
                    <a:gd name="T32" fmla="*/ 0 w 1392"/>
                    <a:gd name="T33" fmla="*/ 925 h 1185"/>
                    <a:gd name="T34" fmla="*/ 0 w 1392"/>
                    <a:gd name="T35" fmla="*/ 0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2" h="1185">
                      <a:moveTo>
                        <a:pt x="142" y="144"/>
                      </a:moveTo>
                      <a:lnTo>
                        <a:pt x="142" y="782"/>
                      </a:lnTo>
                      <a:lnTo>
                        <a:pt x="1251" y="782"/>
                      </a:lnTo>
                      <a:lnTo>
                        <a:pt x="1251" y="144"/>
                      </a:lnTo>
                      <a:lnTo>
                        <a:pt x="142" y="144"/>
                      </a:lnTo>
                      <a:close/>
                      <a:moveTo>
                        <a:pt x="0" y="0"/>
                      </a:moveTo>
                      <a:lnTo>
                        <a:pt x="1392" y="0"/>
                      </a:lnTo>
                      <a:lnTo>
                        <a:pt x="1392" y="925"/>
                      </a:lnTo>
                      <a:lnTo>
                        <a:pt x="893" y="925"/>
                      </a:lnTo>
                      <a:lnTo>
                        <a:pt x="893" y="1117"/>
                      </a:lnTo>
                      <a:lnTo>
                        <a:pt x="1096" y="1117"/>
                      </a:lnTo>
                      <a:lnTo>
                        <a:pt x="1096" y="1185"/>
                      </a:lnTo>
                      <a:lnTo>
                        <a:pt x="296" y="1185"/>
                      </a:lnTo>
                      <a:lnTo>
                        <a:pt x="296" y="1117"/>
                      </a:lnTo>
                      <a:lnTo>
                        <a:pt x="506" y="1117"/>
                      </a:lnTo>
                      <a:lnTo>
                        <a:pt x="506" y="925"/>
                      </a:lnTo>
                      <a:lnTo>
                        <a:pt x="0" y="92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sp>
        <p:nvSpPr>
          <p:cNvPr id="32" name="TextBox 31"/>
          <p:cNvSpPr txBox="1"/>
          <p:nvPr/>
        </p:nvSpPr>
        <p:spPr>
          <a:xfrm>
            <a:off x="3036357" y="1278531"/>
            <a:ext cx="6065006" cy="830997"/>
          </a:xfrm>
          <a:prstGeom prst="rect">
            <a:avLst/>
          </a:prstGeom>
          <a:noFill/>
        </p:spPr>
        <p:txBody>
          <a:bodyPr wrap="square" rtlCol="0">
            <a:spAutoFit/>
          </a:bodyPr>
          <a:lstStyle/>
          <a:p>
            <a:pPr algn="ctr" latinLnBrk="0"/>
            <a:r>
              <a:rPr lang="en-US" sz="4800" spc="-169" dirty="0">
                <a:solidFill>
                  <a:srgbClr val="ED7D31"/>
                </a:solidFill>
              </a:rPr>
              <a:t>Our People</a:t>
            </a:r>
            <a:endParaRPr kumimoji="0" lang="en-US" sz="4800" b="1" i="0" u="none" strike="noStrike" kern="1200" cap="none" spc="-300" normalizeH="0" baseline="0" noProof="0" dirty="0">
              <a:ln>
                <a:noFill/>
              </a:ln>
              <a:solidFill>
                <a:srgbClr val="A5A5A5"/>
              </a:solidFill>
              <a:effectLst/>
              <a:uLnTx/>
              <a:uFillTx/>
              <a:latin typeface="Calibri" panose="020F0502020204030204"/>
              <a:ea typeface="+mn-ea"/>
              <a:cs typeface="+mn-cs"/>
            </a:endParaRPr>
          </a:p>
        </p:txBody>
      </p:sp>
      <p:pic>
        <p:nvPicPr>
          <p:cNvPr id="14" name="Picture 13"/>
          <p:cNvPicPr>
            <a:picLocks noChangeAspect="1"/>
          </p:cNvPicPr>
          <p:nvPr/>
        </p:nvPicPr>
        <p:blipFill>
          <a:blip r:embed="rId2"/>
          <a:stretch>
            <a:fillRect/>
          </a:stretch>
        </p:blipFill>
        <p:spPr>
          <a:xfrm>
            <a:off x="2167569" y="3078449"/>
            <a:ext cx="1365622" cy="1243692"/>
          </a:xfrm>
          <a:prstGeom prst="rect">
            <a:avLst/>
          </a:prstGeom>
        </p:spPr>
      </p:pic>
      <p:sp>
        <p:nvSpPr>
          <p:cNvPr id="15" name="Footer Placeholder 14"/>
          <p:cNvSpPr>
            <a:spLocks noGrp="1"/>
          </p:cNvSpPr>
          <p:nvPr>
            <p:ph type="ftr" sz="quarter" idx="11"/>
          </p:nvPr>
        </p:nvSpPr>
        <p:spPr/>
        <p:txBody>
          <a:bodyPr/>
          <a:lstStyle/>
          <a:p>
            <a:r>
              <a:rPr lang="en-US" dirty="0"/>
              <a:t>Apparel Mart-BD</a:t>
            </a:r>
          </a:p>
        </p:txBody>
      </p:sp>
    </p:spTree>
    <p:extLst>
      <p:ext uri="{BB962C8B-B14F-4D97-AF65-F5344CB8AC3E}">
        <p14:creationId xmlns:p14="http://schemas.microsoft.com/office/powerpoint/2010/main" val="2258174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1">
      <a:majorFont>
        <a:latin typeface="Calibri"/>
        <a:ea typeface="맑은 고딕"/>
        <a:cs typeface=""/>
      </a:majorFont>
      <a:minorFont>
        <a:latin typeface="Calibri Light"/>
        <a:ea typeface="맑은 고딕"/>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K">
      <a:majorFont>
        <a:latin typeface="Futura Boo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0000"/>
            </a:solidFill>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Etihad Aviation Group_CF_AE0224">
  <a:themeElements>
    <a:clrScheme name="Decathlon">
      <a:dk1>
        <a:sysClr val="windowText" lastClr="000000"/>
      </a:dk1>
      <a:lt1>
        <a:sysClr val="window" lastClr="FFFFFF"/>
      </a:lt1>
      <a:dk2>
        <a:srgbClr val="44546A"/>
      </a:dk2>
      <a:lt2>
        <a:srgbClr val="E7E6E6"/>
      </a:lt2>
      <a:accent1>
        <a:srgbClr val="0072B5"/>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11820"/>
        </a:dk2>
        <a:lt2>
          <a:srgbClr val="FFFFFF"/>
        </a:lt2>
        <a:accent1>
          <a:srgbClr val="F2C664"/>
        </a:accent1>
        <a:accent2>
          <a:srgbClr val="BE788E"/>
        </a:accent2>
        <a:accent3>
          <a:srgbClr val="8A4258"/>
        </a:accent3>
        <a:accent4>
          <a:srgbClr val="311820"/>
        </a:accent4>
        <a:accent5>
          <a:srgbClr val="E8A811"/>
        </a:accent5>
        <a:accent6>
          <a:srgbClr val="808080"/>
        </a:accent6>
        <a:hlink>
          <a:srgbClr val="8A4258"/>
        </a:hlink>
        <a:folHlink>
          <a:srgbClr val="3118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tihad Aviation Group_CF_AE0224.potx" id="{D15E7A95-7415-47F1-8C1E-4B089085B7B8}" vid="{92E183D8-0F31-49CF-9C4C-AF572A94EA21}"/>
    </a:ext>
  </a:extLst>
</a:theme>
</file>

<file path=ppt/theme/theme4.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6.xml><?xml version="1.0" encoding="utf-8"?>
<a:theme xmlns:a="http://schemas.openxmlformats.org/drawingml/2006/main" name="6_Office Theme">
  <a:themeElements>
    <a:clrScheme name="slidemarket-colors-1">
      <a:dk1>
        <a:sysClr val="windowText" lastClr="000000"/>
      </a:dk1>
      <a:lt1>
        <a:sysClr val="window" lastClr="FFFFFF"/>
      </a:lt1>
      <a:dk2>
        <a:srgbClr val="1F497D"/>
      </a:dk2>
      <a:lt2>
        <a:srgbClr val="EEECE1"/>
      </a:lt2>
      <a:accent1>
        <a:srgbClr val="034265"/>
      </a:accent1>
      <a:accent2>
        <a:srgbClr val="C02230"/>
      </a:accent2>
      <a:accent3>
        <a:srgbClr val="2DBCCA"/>
      </a:accent3>
      <a:accent4>
        <a:srgbClr val="791038"/>
      </a:accent4>
      <a:accent5>
        <a:srgbClr val="EF8F21"/>
      </a:accent5>
      <a:accent6>
        <a:srgbClr val="0090C4"/>
      </a:accent6>
      <a:hlink>
        <a:srgbClr val="0000FF"/>
      </a:hlink>
      <a:folHlink>
        <a:srgbClr val="80008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8.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9.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925</TotalTime>
  <Words>962</Words>
  <Application>Microsoft Office PowerPoint</Application>
  <PresentationFormat>Widescreen</PresentationFormat>
  <Paragraphs>146</Paragraphs>
  <Slides>19</Slides>
  <Notes>2</Notes>
  <HiddenSlides>0</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19</vt:i4>
      </vt:variant>
    </vt:vector>
  </HeadingPairs>
  <TitlesOfParts>
    <vt:vector size="46" baseType="lpstr">
      <vt:lpstr>맑은 고딕</vt:lpstr>
      <vt:lpstr>Wingdings 2</vt:lpstr>
      <vt:lpstr>Titillium</vt:lpstr>
      <vt:lpstr>Wingdings</vt:lpstr>
      <vt:lpstr>Arial</vt:lpstr>
      <vt:lpstr>Futura-Book</vt:lpstr>
      <vt:lpstr>Times New Roman</vt:lpstr>
      <vt:lpstr>Tahoma</vt:lpstr>
      <vt:lpstr>Arial Narrow</vt:lpstr>
      <vt:lpstr>Century</vt:lpstr>
      <vt:lpstr>Century Gothic</vt:lpstr>
      <vt:lpstr>Trebuchet MS</vt:lpstr>
      <vt:lpstr>굴림체</vt:lpstr>
      <vt:lpstr>Arial,Bold</vt:lpstr>
      <vt:lpstr>Calibri Light</vt:lpstr>
      <vt:lpstr>Open Sans</vt:lpstr>
      <vt:lpstr>Verdana</vt:lpstr>
      <vt:lpstr>Calibri</vt:lpstr>
      <vt:lpstr>Office 테마</vt:lpstr>
      <vt:lpstr>4_blank</vt:lpstr>
      <vt:lpstr>Etihad Aviation Group_CF_AE0224</vt:lpstr>
      <vt:lpstr>2_Office Theme</vt:lpstr>
      <vt:lpstr>3_Office Theme</vt:lpstr>
      <vt:lpstr>6_Office Theme</vt:lpstr>
      <vt:lpstr>7_Office Theme</vt:lpstr>
      <vt:lpstr>Office Theme</vt:lpstr>
      <vt:lpstr>think-cell Slide</vt:lpstr>
      <vt:lpstr>PowerPoint Presentation</vt:lpstr>
      <vt:lpstr>PowerPoint Presentation</vt:lpstr>
      <vt:lpstr>ABOUT US </vt:lpstr>
      <vt:lpstr>Working Process </vt:lpstr>
      <vt:lpstr>Types of products we can supply</vt:lpstr>
      <vt:lpstr>INFORMATION OF OUR COMPANY</vt:lpstr>
      <vt:lpstr>PowerPoint Presentation</vt:lpstr>
      <vt:lpstr>PowerPoint Presentation</vt:lpstr>
      <vt:lpstr>PowerPoint Presentation</vt:lpstr>
      <vt:lpstr>PowerPoint Presentation</vt:lpstr>
      <vt:lpstr>Our Solution </vt:lpstr>
      <vt:lpstr>PowerPoint Presentation</vt:lpstr>
      <vt:lpstr>PowerPoint Presentation</vt:lpstr>
      <vt:lpstr>Product Display Room  </vt:lpstr>
      <vt:lpstr>Product Display  - Circular Knit </vt:lpstr>
      <vt:lpstr>Product Display  </vt:lpstr>
      <vt:lpstr>Product Display - Woven </vt:lpstr>
      <vt:lpstr>PowerPoint Presentation</vt:lpstr>
      <vt:lpstr>PowerPoint Presentation</vt:lpstr>
    </vt:vector>
  </TitlesOfParts>
  <Manager>Slide Members</Manager>
  <Company>YESFORM Co.,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Members</dc:title>
  <dc:subject>Powerpoint Templates , Diagram, Chart, Google slides, Keynote</dc:subject>
  <dc:creator>Slide Members by HS.SEO</dc:creator>
  <cp:keywords>SlideMembers, ppt, PPT Templates, Presentation, Diagram, Chart, Yesform, Google slides, Keynote, Free Slides</cp:keywords>
  <dc:description>The copyright of this document is at Slide Members. Unauthorized copying may result in legal sanctions.</dc:description>
  <cp:lastModifiedBy>Dell</cp:lastModifiedBy>
  <cp:revision>111</cp:revision>
  <dcterms:created xsi:type="dcterms:W3CDTF">2010-02-01T08:03:16Z</dcterms:created>
  <dcterms:modified xsi:type="dcterms:W3CDTF">2023-02-22T09:35:34Z</dcterms:modified>
  <cp:category>www.slidemembers.co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6656724</vt:lpwstr>
  </property>
  <property fmtid="{D5CDD505-2E9C-101B-9397-08002B2CF9AE}" pid="3" name="NXPowerLiteSettings">
    <vt:lpwstr>C7000400038000</vt:lpwstr>
  </property>
  <property fmtid="{D5CDD505-2E9C-101B-9397-08002B2CF9AE}" pid="4" name="NXPowerLiteVersion">
    <vt:lpwstr>S9.0.1</vt:lpwstr>
  </property>
</Properties>
</file>